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tags/tag59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7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8.xml" ContentType="application/vnd.openxmlformats-officedocument.theme+xml"/>
  <Override PartName="/ppt/tags/tag113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9.xml" ContentType="application/vnd.openxmlformats-officedocument.them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0.xml" ContentType="application/vnd.openxmlformats-officedocument.them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1.xml" ContentType="application/vnd.openxmlformats-officedocument.them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heme/themeOverride1.xml" ContentType="application/vnd.openxmlformats-officedocument.themeOverride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12.xml" ContentType="application/vnd.openxmlformats-officedocument.theme+xml"/>
  <Override PartName="/ppt/tags/tag151.xml" ContentType="application/vnd.openxmlformats-officedocument.presentationml.tags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heme/theme13.xml" ContentType="application/vnd.openxmlformats-officedocument.them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heme/theme14.xml" ContentType="application/vnd.openxmlformats-officedocument.theme+xml"/>
  <Override PartName="/ppt/tags/tag169.xml" ContentType="application/vnd.openxmlformats-officedocument.presentationml.tags+xml"/>
  <Override PartName="/ppt/theme/theme15.xml" ContentType="application/vnd.openxmlformats-officedocument.theme+xml"/>
  <Override PartName="/ppt/tags/tag170.xml" ContentType="application/vnd.openxmlformats-officedocument.presentationml.tags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36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  <p:sldMasterId id="2147483692" r:id="rId5"/>
    <p:sldMasterId id="2147483699" r:id="rId6"/>
    <p:sldMasterId id="2147483706" r:id="rId7"/>
    <p:sldMasterId id="2147483711" r:id="rId8"/>
    <p:sldMasterId id="2147483717" r:id="rId9"/>
    <p:sldMasterId id="2147483752" r:id="rId10"/>
    <p:sldMasterId id="2147483777" r:id="rId11"/>
    <p:sldMasterId id="2147483780" r:id="rId12"/>
    <p:sldMasterId id="2147483815" r:id="rId13"/>
    <p:sldMasterId id="2147483843" r:id="rId14"/>
    <p:sldMasterId id="2147483956" r:id="rId15"/>
    <p:sldMasterId id="2147483856" r:id="rId16"/>
    <p:sldMasterId id="2147483882" r:id="rId17"/>
    <p:sldMasterId id="2147483914" r:id="rId18"/>
  </p:sldMasterIdLst>
  <p:notesMasterIdLst>
    <p:notesMasterId r:id="rId54"/>
  </p:notesMasterIdLst>
  <p:sldIdLst>
    <p:sldId id="1765" r:id="rId19"/>
    <p:sldId id="4087" r:id="rId20"/>
    <p:sldId id="7968" r:id="rId21"/>
    <p:sldId id="2145707063" r:id="rId22"/>
    <p:sldId id="2145707020" r:id="rId23"/>
    <p:sldId id="2145707065" r:id="rId24"/>
    <p:sldId id="2145707043" r:id="rId25"/>
    <p:sldId id="2145707058" r:id="rId26"/>
    <p:sldId id="2145707030" r:id="rId27"/>
    <p:sldId id="2145707041" r:id="rId28"/>
    <p:sldId id="2145707046" r:id="rId29"/>
    <p:sldId id="2145707056" r:id="rId30"/>
    <p:sldId id="2145707031" r:id="rId31"/>
    <p:sldId id="2145707066" r:id="rId32"/>
    <p:sldId id="2145707068" r:id="rId33"/>
    <p:sldId id="2145707012" r:id="rId34"/>
    <p:sldId id="2145707060" r:id="rId35"/>
    <p:sldId id="7983" r:id="rId36"/>
    <p:sldId id="2145707069" r:id="rId37"/>
    <p:sldId id="2145707049" r:id="rId38"/>
    <p:sldId id="2145707013" r:id="rId39"/>
    <p:sldId id="2145707064" r:id="rId40"/>
    <p:sldId id="2145707039" r:id="rId41"/>
    <p:sldId id="2145707038" r:id="rId42"/>
    <p:sldId id="2145707040" r:id="rId43"/>
    <p:sldId id="2145707022" r:id="rId44"/>
    <p:sldId id="2145707026" r:id="rId45"/>
    <p:sldId id="2145707025" r:id="rId46"/>
    <p:sldId id="2145707028" r:id="rId47"/>
    <p:sldId id="2145707029" r:id="rId48"/>
    <p:sldId id="2145707033" r:id="rId49"/>
    <p:sldId id="2145707034" r:id="rId50"/>
    <p:sldId id="2145707035" r:id="rId51"/>
    <p:sldId id="2145707015" r:id="rId52"/>
    <p:sldId id="2145707016" r:id="rId53"/>
  </p:sldIdLst>
  <p:sldSz cx="12192000" cy="6858000"/>
  <p:notesSz cx="6797675" cy="9874250"/>
  <p:custDataLst>
    <p:tags r:id="rId55"/>
  </p:custDataLst>
  <p:defaultTextStyle>
    <a:defPPr>
      <a:defRPr lang="en-US"/>
    </a:defPPr>
    <a:lvl1pPr marL="0" algn="l" defTabSz="9143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0" algn="l" defTabSz="9143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60" algn="l" defTabSz="9143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40" algn="l" defTabSz="9143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19" algn="l" defTabSz="9143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99" algn="l" defTabSz="9143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80" algn="l" defTabSz="9143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59" algn="l" defTabSz="9143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39" algn="l" defTabSz="9143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25653"/>
    <a:srgbClr val="CA6D6A"/>
    <a:srgbClr val="4F81BD"/>
    <a:srgbClr val="808000"/>
    <a:srgbClr val="FFFFFF"/>
    <a:srgbClr val="000000"/>
    <a:srgbClr val="FF2929"/>
    <a:srgbClr val="F2F2F2"/>
    <a:srgbClr val="B4C6E7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6D4F506-5911-4DE7-B986-0013CD5AFD26}" v="4516" dt="2024-05-27T05:33:26.22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60" d="100"/>
          <a:sy n="60" d="100"/>
        </p:scale>
        <p:origin x="816" y="32"/>
      </p:cViewPr>
      <p:guideLst>
        <p:guide orient="horz" pos="2160"/>
        <p:guide pos="384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8.xml"/><Relationship Id="rId39" Type="http://schemas.openxmlformats.org/officeDocument/2006/relationships/slide" Target="slides/slide21.xml"/><Relationship Id="rId21" Type="http://schemas.openxmlformats.org/officeDocument/2006/relationships/slide" Target="slides/slide3.xml"/><Relationship Id="rId34" Type="http://schemas.openxmlformats.org/officeDocument/2006/relationships/slide" Target="slides/slide16.xml"/><Relationship Id="rId42" Type="http://schemas.openxmlformats.org/officeDocument/2006/relationships/slide" Target="slides/slide24.xml"/><Relationship Id="rId47" Type="http://schemas.openxmlformats.org/officeDocument/2006/relationships/slide" Target="slides/slide29.xml"/><Relationship Id="rId50" Type="http://schemas.openxmlformats.org/officeDocument/2006/relationships/slide" Target="slides/slide32.xml"/><Relationship Id="rId55" Type="http://schemas.openxmlformats.org/officeDocument/2006/relationships/tags" Target="tags/tag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2.xml"/><Relationship Id="rId29" Type="http://schemas.openxmlformats.org/officeDocument/2006/relationships/slide" Target="slides/slide11.xml"/><Relationship Id="rId41" Type="http://schemas.openxmlformats.org/officeDocument/2006/relationships/slide" Target="slides/slide23.xml"/><Relationship Id="rId54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6.xml"/><Relationship Id="rId32" Type="http://schemas.openxmlformats.org/officeDocument/2006/relationships/slide" Target="slides/slide14.xml"/><Relationship Id="rId37" Type="http://schemas.openxmlformats.org/officeDocument/2006/relationships/slide" Target="slides/slide19.xml"/><Relationship Id="rId40" Type="http://schemas.openxmlformats.org/officeDocument/2006/relationships/slide" Target="slides/slide22.xml"/><Relationship Id="rId45" Type="http://schemas.openxmlformats.org/officeDocument/2006/relationships/slide" Target="slides/slide27.xml"/><Relationship Id="rId53" Type="http://schemas.openxmlformats.org/officeDocument/2006/relationships/slide" Target="slides/slide35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slide" Target="slides/slide18.xml"/><Relationship Id="rId49" Type="http://schemas.openxmlformats.org/officeDocument/2006/relationships/slide" Target="slides/slide31.xml"/><Relationship Id="rId57" Type="http://schemas.openxmlformats.org/officeDocument/2006/relationships/viewProps" Target="viewProps.xml"/><Relationship Id="rId61" Type="http://schemas.microsoft.com/office/2015/10/relationships/revisionInfo" Target="revisionInfo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1.xml"/><Relationship Id="rId31" Type="http://schemas.openxmlformats.org/officeDocument/2006/relationships/slide" Target="slides/slide13.xml"/><Relationship Id="rId44" Type="http://schemas.openxmlformats.org/officeDocument/2006/relationships/slide" Target="slides/slide26.xml"/><Relationship Id="rId52" Type="http://schemas.openxmlformats.org/officeDocument/2006/relationships/slide" Target="slides/slide34.xml"/><Relationship Id="rId60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slide" Target="slides/slide12.xml"/><Relationship Id="rId35" Type="http://schemas.openxmlformats.org/officeDocument/2006/relationships/slide" Target="slides/slide17.xml"/><Relationship Id="rId43" Type="http://schemas.openxmlformats.org/officeDocument/2006/relationships/slide" Target="slides/slide25.xml"/><Relationship Id="rId48" Type="http://schemas.openxmlformats.org/officeDocument/2006/relationships/slide" Target="slides/slide30.xml"/><Relationship Id="rId56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3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7.xml"/><Relationship Id="rId33" Type="http://schemas.openxmlformats.org/officeDocument/2006/relationships/slide" Target="slides/slide15.xml"/><Relationship Id="rId38" Type="http://schemas.openxmlformats.org/officeDocument/2006/relationships/slide" Target="slides/slide20.xml"/><Relationship Id="rId46" Type="http://schemas.openxmlformats.org/officeDocument/2006/relationships/slide" Target="slides/slide28.xml"/><Relationship Id="rId5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tish Kumar" userId="dd67aa8a-8cf6-4186-8ec6-f4690f9005b2" providerId="ADAL" clId="{C6D4F506-5911-4DE7-B986-0013CD5AFD26}"/>
    <pc:docChg chg="undo custSel addSld delSld modSld sldOrd replTag">
      <pc:chgData name="Nitish Kumar" userId="dd67aa8a-8cf6-4186-8ec6-f4690f9005b2" providerId="ADAL" clId="{C6D4F506-5911-4DE7-B986-0013CD5AFD26}" dt="2024-05-27T05:46:59.162" v="6796" actId="20577"/>
      <pc:docMkLst>
        <pc:docMk/>
      </pc:docMkLst>
      <pc:sldChg chg="modSp mod">
        <pc:chgData name="Nitish Kumar" userId="dd67aa8a-8cf6-4186-8ec6-f4690f9005b2" providerId="ADAL" clId="{C6D4F506-5911-4DE7-B986-0013CD5AFD26}" dt="2024-05-27T04:36:45.786" v="5749" actId="20577"/>
        <pc:sldMkLst>
          <pc:docMk/>
          <pc:sldMk cId="1229431894" sldId="1765"/>
        </pc:sldMkLst>
        <pc:spChg chg="mod">
          <ac:chgData name="Nitish Kumar" userId="dd67aa8a-8cf6-4186-8ec6-f4690f9005b2" providerId="ADAL" clId="{C6D4F506-5911-4DE7-B986-0013CD5AFD26}" dt="2024-05-27T04:36:45.786" v="5749" actId="20577"/>
          <ac:spMkLst>
            <pc:docMk/>
            <pc:sldMk cId="1229431894" sldId="1765"/>
            <ac:spMk id="2" creationId="{7D37DC44-C645-C529-0BCC-011C735A4ADA}"/>
          </ac:spMkLst>
        </pc:spChg>
      </pc:sldChg>
      <pc:sldChg chg="modSp mod modTransition modShow">
        <pc:chgData name="Nitish Kumar" userId="dd67aa8a-8cf6-4186-8ec6-f4690f9005b2" providerId="ADAL" clId="{C6D4F506-5911-4DE7-B986-0013CD5AFD26}" dt="2024-05-23T10:20:57.942" v="294" actId="20577"/>
        <pc:sldMkLst>
          <pc:docMk/>
          <pc:sldMk cId="1285516959" sldId="4087"/>
        </pc:sldMkLst>
        <pc:spChg chg="mod">
          <ac:chgData name="Nitish Kumar" userId="dd67aa8a-8cf6-4186-8ec6-f4690f9005b2" providerId="ADAL" clId="{C6D4F506-5911-4DE7-B986-0013CD5AFD26}" dt="2024-05-23T10:20:57.942" v="294" actId="20577"/>
          <ac:spMkLst>
            <pc:docMk/>
            <pc:sldMk cId="1285516959" sldId="4087"/>
            <ac:spMk id="4" creationId="{41CABE7E-5FBA-45B8-9888-F11F837CAA62}"/>
          </ac:spMkLst>
        </pc:spChg>
      </pc:sldChg>
      <pc:sldChg chg="del">
        <pc:chgData name="Nitish Kumar" userId="dd67aa8a-8cf6-4186-8ec6-f4690f9005b2" providerId="ADAL" clId="{C6D4F506-5911-4DE7-B986-0013CD5AFD26}" dt="2024-05-23T11:26:37.670" v="1212" actId="47"/>
        <pc:sldMkLst>
          <pc:docMk/>
          <pc:sldMk cId="1779726463" sldId="7937"/>
        </pc:sldMkLst>
      </pc:sldChg>
      <pc:sldChg chg="del">
        <pc:chgData name="Nitish Kumar" userId="dd67aa8a-8cf6-4186-8ec6-f4690f9005b2" providerId="ADAL" clId="{C6D4F506-5911-4DE7-B986-0013CD5AFD26}" dt="2024-05-23T11:26:36.004" v="1211" actId="47"/>
        <pc:sldMkLst>
          <pc:docMk/>
          <pc:sldMk cId="1556889664" sldId="7938"/>
        </pc:sldMkLst>
      </pc:sldChg>
      <pc:sldChg chg="modSp mod modTransition modShow">
        <pc:chgData name="Nitish Kumar" userId="dd67aa8a-8cf6-4186-8ec6-f4690f9005b2" providerId="ADAL" clId="{C6D4F506-5911-4DE7-B986-0013CD5AFD26}" dt="2024-05-23T13:41:24.628" v="4385" actId="1076"/>
        <pc:sldMkLst>
          <pc:docMk/>
          <pc:sldMk cId="2401762461" sldId="7968"/>
        </pc:sldMkLst>
        <pc:picChg chg="mod">
          <ac:chgData name="Nitish Kumar" userId="dd67aa8a-8cf6-4186-8ec6-f4690f9005b2" providerId="ADAL" clId="{C6D4F506-5911-4DE7-B986-0013CD5AFD26}" dt="2024-05-23T13:41:24.628" v="4385" actId="1076"/>
          <ac:picMkLst>
            <pc:docMk/>
            <pc:sldMk cId="2401762461" sldId="7968"/>
            <ac:picMk id="19" creationId="{5A0BDE04-94F3-EA18-F5D6-EB8FD67D7C43}"/>
          </ac:picMkLst>
        </pc:picChg>
      </pc:sldChg>
      <pc:sldChg chg="del">
        <pc:chgData name="Nitish Kumar" userId="dd67aa8a-8cf6-4186-8ec6-f4690f9005b2" providerId="ADAL" clId="{C6D4F506-5911-4DE7-B986-0013CD5AFD26}" dt="2024-05-23T11:06:57.210" v="919" actId="47"/>
        <pc:sldMkLst>
          <pc:docMk/>
          <pc:sldMk cId="2164956293" sldId="8014"/>
        </pc:sldMkLst>
      </pc:sldChg>
      <pc:sldChg chg="add ord">
        <pc:chgData name="Nitish Kumar" userId="dd67aa8a-8cf6-4186-8ec6-f4690f9005b2" providerId="ADAL" clId="{C6D4F506-5911-4DE7-B986-0013CD5AFD26}" dt="2024-05-23T13:39:00.798" v="4384"/>
        <pc:sldMkLst>
          <pc:docMk/>
          <pc:sldMk cId="835595951" sldId="2145707012"/>
        </pc:sldMkLst>
      </pc:sldChg>
      <pc:sldChg chg="addSp delSp modSp del mod">
        <pc:chgData name="Nitish Kumar" userId="dd67aa8a-8cf6-4186-8ec6-f4690f9005b2" providerId="ADAL" clId="{C6D4F506-5911-4DE7-B986-0013CD5AFD26}" dt="2024-05-23T13:37:24.952" v="4377" actId="2696"/>
        <pc:sldMkLst>
          <pc:docMk/>
          <pc:sldMk cId="1199046426" sldId="2145707012"/>
        </pc:sldMkLst>
        <pc:spChg chg="mod">
          <ac:chgData name="Nitish Kumar" userId="dd67aa8a-8cf6-4186-8ec6-f4690f9005b2" providerId="ADAL" clId="{C6D4F506-5911-4DE7-B986-0013CD5AFD26}" dt="2024-05-23T12:58:46.781" v="4202" actId="20577"/>
          <ac:spMkLst>
            <pc:docMk/>
            <pc:sldMk cId="1199046426" sldId="2145707012"/>
            <ac:spMk id="2" creationId="{AC8580CC-B194-0E52-613D-91FB5B7B995E}"/>
          </ac:spMkLst>
        </pc:spChg>
        <pc:spChg chg="mod">
          <ac:chgData name="Nitish Kumar" userId="dd67aa8a-8cf6-4186-8ec6-f4690f9005b2" providerId="ADAL" clId="{C6D4F506-5911-4DE7-B986-0013CD5AFD26}" dt="2024-05-23T09:34:09.946" v="185" actId="14100"/>
          <ac:spMkLst>
            <pc:docMk/>
            <pc:sldMk cId="1199046426" sldId="2145707012"/>
            <ac:spMk id="3" creationId="{08249128-319B-F5D0-F2E3-21CFB9F8EE24}"/>
          </ac:spMkLst>
        </pc:spChg>
        <pc:spChg chg="add del mod">
          <ac:chgData name="Nitish Kumar" userId="dd67aa8a-8cf6-4186-8ec6-f4690f9005b2" providerId="ADAL" clId="{C6D4F506-5911-4DE7-B986-0013CD5AFD26}" dt="2024-05-23T12:58:13.765" v="4184" actId="478"/>
          <ac:spMkLst>
            <pc:docMk/>
            <pc:sldMk cId="1199046426" sldId="2145707012"/>
            <ac:spMk id="5" creationId="{C6C41D99-7B03-F17B-CBDE-851FD2CE0231}"/>
          </ac:spMkLst>
        </pc:spChg>
        <pc:spChg chg="add mod">
          <ac:chgData name="Nitish Kumar" userId="dd67aa8a-8cf6-4186-8ec6-f4690f9005b2" providerId="ADAL" clId="{C6D4F506-5911-4DE7-B986-0013CD5AFD26}" dt="2024-05-23T12:57:51.497" v="4182" actId="1076"/>
          <ac:spMkLst>
            <pc:docMk/>
            <pc:sldMk cId="1199046426" sldId="2145707012"/>
            <ac:spMk id="6" creationId="{4B3F872C-5365-4402-BAAD-F76A68A5F027}"/>
          </ac:spMkLst>
        </pc:spChg>
        <pc:spChg chg="mod">
          <ac:chgData name="Nitish Kumar" userId="dd67aa8a-8cf6-4186-8ec6-f4690f9005b2" providerId="ADAL" clId="{C6D4F506-5911-4DE7-B986-0013CD5AFD26}" dt="2024-05-23T11:09:33.181" v="942" actId="20577"/>
          <ac:spMkLst>
            <pc:docMk/>
            <pc:sldMk cId="1199046426" sldId="2145707012"/>
            <ac:spMk id="21" creationId="{4D7BABB6-A24D-2A8B-2F3C-21437012E385}"/>
          </ac:spMkLst>
        </pc:spChg>
        <pc:graphicFrameChg chg="add del mod">
          <ac:chgData name="Nitish Kumar" userId="dd67aa8a-8cf6-4186-8ec6-f4690f9005b2" providerId="ADAL" clId="{C6D4F506-5911-4DE7-B986-0013CD5AFD26}" dt="2024-05-23T09:33:49.739" v="183" actId="478"/>
          <ac:graphicFrameMkLst>
            <pc:docMk/>
            <pc:sldMk cId="1199046426" sldId="2145707012"/>
            <ac:graphicFrameMk id="12" creationId="{9D00C07C-84FB-0C54-8701-D38E377AC790}"/>
          </ac:graphicFrameMkLst>
        </pc:graphicFrameChg>
        <pc:cxnChg chg="mod">
          <ac:chgData name="Nitish Kumar" userId="dd67aa8a-8cf6-4186-8ec6-f4690f9005b2" providerId="ADAL" clId="{C6D4F506-5911-4DE7-B986-0013CD5AFD26}" dt="2024-05-23T12:57:55.479" v="4183" actId="1076"/>
          <ac:cxnSpMkLst>
            <pc:docMk/>
            <pc:sldMk cId="1199046426" sldId="2145707012"/>
            <ac:cxnSpMk id="19" creationId="{8E77C805-D0CF-9645-A384-F329C4447556}"/>
          </ac:cxnSpMkLst>
        </pc:cxnChg>
      </pc:sldChg>
      <pc:sldChg chg="ord">
        <pc:chgData name="Nitish Kumar" userId="dd67aa8a-8cf6-4186-8ec6-f4690f9005b2" providerId="ADAL" clId="{C6D4F506-5911-4DE7-B986-0013CD5AFD26}" dt="2024-05-23T12:56:30.727" v="4177"/>
        <pc:sldMkLst>
          <pc:docMk/>
          <pc:sldMk cId="1382296170" sldId="2145707013"/>
        </pc:sldMkLst>
      </pc:sldChg>
      <pc:sldChg chg="del">
        <pc:chgData name="Nitish Kumar" userId="dd67aa8a-8cf6-4186-8ec6-f4690f9005b2" providerId="ADAL" clId="{C6D4F506-5911-4DE7-B986-0013CD5AFD26}" dt="2024-05-23T11:06:54.393" v="918" actId="47"/>
        <pc:sldMkLst>
          <pc:docMk/>
          <pc:sldMk cId="2289428257" sldId="2145707014"/>
        </pc:sldMkLst>
      </pc:sldChg>
      <pc:sldChg chg="del">
        <pc:chgData name="Nitish Kumar" userId="dd67aa8a-8cf6-4186-8ec6-f4690f9005b2" providerId="ADAL" clId="{C6D4F506-5911-4DE7-B986-0013CD5AFD26}" dt="2024-05-23T11:06:21.061" v="912" actId="47"/>
        <pc:sldMkLst>
          <pc:docMk/>
          <pc:sldMk cId="3764597083" sldId="2145707017"/>
        </pc:sldMkLst>
      </pc:sldChg>
      <pc:sldChg chg="del">
        <pc:chgData name="Nitish Kumar" userId="dd67aa8a-8cf6-4186-8ec6-f4690f9005b2" providerId="ADAL" clId="{C6D4F506-5911-4DE7-B986-0013CD5AFD26}" dt="2024-05-23T11:42:05.597" v="1222" actId="47"/>
        <pc:sldMkLst>
          <pc:docMk/>
          <pc:sldMk cId="2537287459" sldId="2145707018"/>
        </pc:sldMkLst>
      </pc:sldChg>
      <pc:sldChg chg="del">
        <pc:chgData name="Nitish Kumar" userId="dd67aa8a-8cf6-4186-8ec6-f4690f9005b2" providerId="ADAL" clId="{C6D4F506-5911-4DE7-B986-0013CD5AFD26}" dt="2024-05-23T11:07:02.696" v="920" actId="47"/>
        <pc:sldMkLst>
          <pc:docMk/>
          <pc:sldMk cId="4085755773" sldId="2145707019"/>
        </pc:sldMkLst>
      </pc:sldChg>
      <pc:sldChg chg="addSp delSp modSp mod">
        <pc:chgData name="Nitish Kumar" userId="dd67aa8a-8cf6-4186-8ec6-f4690f9005b2" providerId="ADAL" clId="{C6D4F506-5911-4DE7-B986-0013CD5AFD26}" dt="2024-05-23T10:31:42.676" v="630" actId="242"/>
        <pc:sldMkLst>
          <pc:docMk/>
          <pc:sldMk cId="2987889872" sldId="2145707020"/>
        </pc:sldMkLst>
        <pc:spChg chg="del">
          <ac:chgData name="Nitish Kumar" userId="dd67aa8a-8cf6-4186-8ec6-f4690f9005b2" providerId="ADAL" clId="{C6D4F506-5911-4DE7-B986-0013CD5AFD26}" dt="2024-05-23T10:30:48.651" v="617" actId="478"/>
          <ac:spMkLst>
            <pc:docMk/>
            <pc:sldMk cId="2987889872" sldId="2145707020"/>
            <ac:spMk id="3" creationId="{47D00F23-E5C7-2EB8-C111-BDB6DAD93B28}"/>
          </ac:spMkLst>
        </pc:spChg>
        <pc:spChg chg="add mod">
          <ac:chgData name="Nitish Kumar" userId="dd67aa8a-8cf6-4186-8ec6-f4690f9005b2" providerId="ADAL" clId="{C6D4F506-5911-4DE7-B986-0013CD5AFD26}" dt="2024-05-23T10:30:53.449" v="618" actId="1076"/>
          <ac:spMkLst>
            <pc:docMk/>
            <pc:sldMk cId="2987889872" sldId="2145707020"/>
            <ac:spMk id="4" creationId="{84B41712-FDE6-C05B-6C9E-3130D98B5726}"/>
          </ac:spMkLst>
        </pc:spChg>
        <pc:spChg chg="del mod">
          <ac:chgData name="Nitish Kumar" userId="dd67aa8a-8cf6-4186-8ec6-f4690f9005b2" providerId="ADAL" clId="{C6D4F506-5911-4DE7-B986-0013CD5AFD26}" dt="2024-05-23T10:31:31.052" v="627" actId="478"/>
          <ac:spMkLst>
            <pc:docMk/>
            <pc:sldMk cId="2987889872" sldId="2145707020"/>
            <ac:spMk id="5" creationId="{54C06BD9-2B59-2DB1-0811-548A88CBF117}"/>
          </ac:spMkLst>
        </pc:spChg>
        <pc:spChg chg="add mod">
          <ac:chgData name="Nitish Kumar" userId="dd67aa8a-8cf6-4186-8ec6-f4690f9005b2" providerId="ADAL" clId="{C6D4F506-5911-4DE7-B986-0013CD5AFD26}" dt="2024-05-23T10:31:42.676" v="630" actId="242"/>
          <ac:spMkLst>
            <pc:docMk/>
            <pc:sldMk cId="2987889872" sldId="2145707020"/>
            <ac:spMk id="6" creationId="{E3375D5C-940F-911F-E27F-A8D9BC48D949}"/>
          </ac:spMkLst>
        </pc:spChg>
        <pc:spChg chg="mod">
          <ac:chgData name="Nitish Kumar" userId="dd67aa8a-8cf6-4186-8ec6-f4690f9005b2" providerId="ADAL" clId="{C6D4F506-5911-4DE7-B986-0013CD5AFD26}" dt="2024-05-23T10:26:54.971" v="530" actId="20577"/>
          <ac:spMkLst>
            <pc:docMk/>
            <pc:sldMk cId="2987889872" sldId="2145707020"/>
            <ac:spMk id="19" creationId="{EF35414E-2246-E5B1-8052-E87513A3368A}"/>
          </ac:spMkLst>
        </pc:spChg>
      </pc:sldChg>
      <pc:sldChg chg="modSp mod">
        <pc:chgData name="Nitish Kumar" userId="dd67aa8a-8cf6-4186-8ec6-f4690f9005b2" providerId="ADAL" clId="{C6D4F506-5911-4DE7-B986-0013CD5AFD26}" dt="2024-05-23T10:32:20.643" v="643" actId="14100"/>
        <pc:sldMkLst>
          <pc:docMk/>
          <pc:sldMk cId="4103315950" sldId="2145707030"/>
        </pc:sldMkLst>
        <pc:spChg chg="mod">
          <ac:chgData name="Nitish Kumar" userId="dd67aa8a-8cf6-4186-8ec6-f4690f9005b2" providerId="ADAL" clId="{C6D4F506-5911-4DE7-B986-0013CD5AFD26}" dt="2024-05-23T10:29:36.218" v="607" actId="20577"/>
          <ac:spMkLst>
            <pc:docMk/>
            <pc:sldMk cId="4103315950" sldId="2145707030"/>
            <ac:spMk id="12" creationId="{6F7F4420-D1B6-42A3-11E0-0708DF186438}"/>
          </ac:spMkLst>
        </pc:spChg>
        <pc:spChg chg="mod">
          <ac:chgData name="Nitish Kumar" userId="dd67aa8a-8cf6-4186-8ec6-f4690f9005b2" providerId="ADAL" clId="{C6D4F506-5911-4DE7-B986-0013CD5AFD26}" dt="2024-05-23T10:32:20.643" v="643" actId="14100"/>
          <ac:spMkLst>
            <pc:docMk/>
            <pc:sldMk cId="4103315950" sldId="2145707030"/>
            <ac:spMk id="14" creationId="{09444D7D-D5AC-BECE-C406-6486C5BC5752}"/>
          </ac:spMkLst>
        </pc:spChg>
      </pc:sldChg>
      <pc:sldChg chg="addSp delSp modSp mod ord">
        <pc:chgData name="Nitish Kumar" userId="dd67aa8a-8cf6-4186-8ec6-f4690f9005b2" providerId="ADAL" clId="{C6D4F506-5911-4DE7-B986-0013CD5AFD26}" dt="2024-05-23T13:02:24.886" v="4256" actId="5793"/>
        <pc:sldMkLst>
          <pc:docMk/>
          <pc:sldMk cId="7001691" sldId="2145707031"/>
        </pc:sldMkLst>
        <pc:spChg chg="mod">
          <ac:chgData name="Nitish Kumar" userId="dd67aa8a-8cf6-4186-8ec6-f4690f9005b2" providerId="ADAL" clId="{C6D4F506-5911-4DE7-B986-0013CD5AFD26}" dt="2024-05-23T11:25:52.766" v="1207" actId="20577"/>
          <ac:spMkLst>
            <pc:docMk/>
            <pc:sldMk cId="7001691" sldId="2145707031"/>
            <ac:spMk id="2" creationId="{5C397A1B-3877-A628-9064-4500F079A51F}"/>
          </ac:spMkLst>
        </pc:spChg>
        <pc:spChg chg="mod">
          <ac:chgData name="Nitish Kumar" userId="dd67aa8a-8cf6-4186-8ec6-f4690f9005b2" providerId="ADAL" clId="{C6D4F506-5911-4DE7-B986-0013CD5AFD26}" dt="2024-05-23T12:22:16.951" v="2808" actId="20577"/>
          <ac:spMkLst>
            <pc:docMk/>
            <pc:sldMk cId="7001691" sldId="2145707031"/>
            <ac:spMk id="12" creationId="{66F94482-1735-31D6-6780-2DE83FB408A8}"/>
          </ac:spMkLst>
        </pc:spChg>
        <pc:spChg chg="mod">
          <ac:chgData name="Nitish Kumar" userId="dd67aa8a-8cf6-4186-8ec6-f4690f9005b2" providerId="ADAL" clId="{C6D4F506-5911-4DE7-B986-0013CD5AFD26}" dt="2024-05-23T13:02:24.886" v="4256" actId="5793"/>
          <ac:spMkLst>
            <pc:docMk/>
            <pc:sldMk cId="7001691" sldId="2145707031"/>
            <ac:spMk id="121" creationId="{8399B230-520C-A7A8-854E-FDB87089491E}"/>
          </ac:spMkLst>
        </pc:spChg>
        <pc:graphicFrameChg chg="add del mod">
          <ac:chgData name="Nitish Kumar" userId="dd67aa8a-8cf6-4186-8ec6-f4690f9005b2" providerId="ADAL" clId="{C6D4F506-5911-4DE7-B986-0013CD5AFD26}" dt="2024-05-23T11:19:25.467" v="964" actId="478"/>
          <ac:graphicFrameMkLst>
            <pc:docMk/>
            <pc:sldMk cId="7001691" sldId="2145707031"/>
            <ac:graphicFrameMk id="3" creationId="{A89F2735-DCF0-76F5-4854-72DB89546CFB}"/>
          </ac:graphicFrameMkLst>
        </pc:graphicFrameChg>
        <pc:graphicFrameChg chg="add del mod">
          <ac:chgData name="Nitish Kumar" userId="dd67aa8a-8cf6-4186-8ec6-f4690f9005b2" providerId="ADAL" clId="{C6D4F506-5911-4DE7-B986-0013CD5AFD26}" dt="2024-05-23T11:19:39.191" v="966" actId="21"/>
          <ac:graphicFrameMkLst>
            <pc:docMk/>
            <pc:sldMk cId="7001691" sldId="2145707031"/>
            <ac:graphicFrameMk id="4" creationId="{A89F2735-DCF0-76F5-4854-72DB89546CFB}"/>
          </ac:graphicFrameMkLst>
        </pc:graphicFrameChg>
      </pc:sldChg>
      <pc:sldChg chg="del">
        <pc:chgData name="Nitish Kumar" userId="dd67aa8a-8cf6-4186-8ec6-f4690f9005b2" providerId="ADAL" clId="{C6D4F506-5911-4DE7-B986-0013CD5AFD26}" dt="2024-05-23T11:42:02.921" v="1221" actId="47"/>
        <pc:sldMkLst>
          <pc:docMk/>
          <pc:sldMk cId="848932701" sldId="2145707032"/>
        </pc:sldMkLst>
      </pc:sldChg>
      <pc:sldChg chg="del">
        <pc:chgData name="Nitish Kumar" userId="dd67aa8a-8cf6-4186-8ec6-f4690f9005b2" providerId="ADAL" clId="{C6D4F506-5911-4DE7-B986-0013CD5AFD26}" dt="2024-05-23T11:42:06.881" v="1223" actId="47"/>
        <pc:sldMkLst>
          <pc:docMk/>
          <pc:sldMk cId="2500033905" sldId="2145707036"/>
        </pc:sldMkLst>
      </pc:sldChg>
      <pc:sldChg chg="modSp add del mod">
        <pc:chgData name="Nitish Kumar" userId="dd67aa8a-8cf6-4186-8ec6-f4690f9005b2" providerId="ADAL" clId="{C6D4F506-5911-4DE7-B986-0013CD5AFD26}" dt="2024-05-23T11:06:40.661" v="917" actId="47"/>
        <pc:sldMkLst>
          <pc:docMk/>
          <pc:sldMk cId="925408072" sldId="2145707037"/>
        </pc:sldMkLst>
        <pc:graphicFrameChg chg="mod">
          <ac:chgData name="Nitish Kumar" userId="dd67aa8a-8cf6-4186-8ec6-f4690f9005b2" providerId="ADAL" clId="{C6D4F506-5911-4DE7-B986-0013CD5AFD26}" dt="2024-05-23T11:06:35.190" v="916"/>
          <ac:graphicFrameMkLst>
            <pc:docMk/>
            <pc:sldMk cId="925408072" sldId="2145707037"/>
            <ac:graphicFrameMk id="32" creationId="{633E877F-0775-8501-BFB4-D09B5E6B5C6A}"/>
          </ac:graphicFrameMkLst>
        </pc:graphicFrameChg>
      </pc:sldChg>
      <pc:sldChg chg="addSp delSp modSp mod">
        <pc:chgData name="Nitish Kumar" userId="dd67aa8a-8cf6-4186-8ec6-f4690f9005b2" providerId="ADAL" clId="{C6D4F506-5911-4DE7-B986-0013CD5AFD26}" dt="2024-05-23T12:21:38.497" v="2772" actId="1076"/>
        <pc:sldMkLst>
          <pc:docMk/>
          <pc:sldMk cId="3558570575" sldId="2145707039"/>
        </pc:sldMkLst>
        <pc:spChg chg="add del mod modVis">
          <ac:chgData name="Nitish Kumar" userId="dd67aa8a-8cf6-4186-8ec6-f4690f9005b2" providerId="ADAL" clId="{C6D4F506-5911-4DE7-B986-0013CD5AFD26}" dt="2024-05-23T12:21:05.975" v="2467"/>
          <ac:spMkLst>
            <pc:docMk/>
            <pc:sldMk cId="3558570575" sldId="2145707039"/>
            <ac:spMk id="2" creationId="{0F5EDC64-E8ED-554F-C81E-7F87CC342AC9}"/>
          </ac:spMkLst>
        </pc:spChg>
        <pc:spChg chg="add del mod modVis">
          <ac:chgData name="Nitish Kumar" userId="dd67aa8a-8cf6-4186-8ec6-f4690f9005b2" providerId="ADAL" clId="{C6D4F506-5911-4DE7-B986-0013CD5AFD26}" dt="2024-05-23T12:21:18.153" v="2768"/>
          <ac:spMkLst>
            <pc:docMk/>
            <pc:sldMk cId="3558570575" sldId="2145707039"/>
            <ac:spMk id="4" creationId="{F3F66879-B696-482C-C3D9-428305EB8ED3}"/>
          </ac:spMkLst>
        </pc:spChg>
        <pc:spChg chg="mod ord">
          <ac:chgData name="Nitish Kumar" userId="dd67aa8a-8cf6-4186-8ec6-f4690f9005b2" providerId="ADAL" clId="{C6D4F506-5911-4DE7-B986-0013CD5AFD26}" dt="2024-05-23T12:21:18.076" v="2694"/>
          <ac:spMkLst>
            <pc:docMk/>
            <pc:sldMk cId="3558570575" sldId="2145707039"/>
            <ac:spMk id="12" creationId="{F6AD64BD-DD61-EE08-1970-EEB5A843CABF}"/>
          </ac:spMkLst>
        </pc:spChg>
        <pc:spChg chg="mod">
          <ac:chgData name="Nitish Kumar" userId="dd67aa8a-8cf6-4186-8ec6-f4690f9005b2" providerId="ADAL" clId="{C6D4F506-5911-4DE7-B986-0013CD5AFD26}" dt="2024-05-23T12:21:18.121" v="2739"/>
          <ac:spMkLst>
            <pc:docMk/>
            <pc:sldMk cId="3558570575" sldId="2145707039"/>
            <ac:spMk id="98" creationId="{AE773972-2EB5-0A28-E7A3-5540FC1ABC59}"/>
          </ac:spMkLst>
        </pc:spChg>
        <pc:spChg chg="mod">
          <ac:chgData name="Nitish Kumar" userId="dd67aa8a-8cf6-4186-8ec6-f4690f9005b2" providerId="ADAL" clId="{C6D4F506-5911-4DE7-B986-0013CD5AFD26}" dt="2024-05-23T12:21:18.094" v="2714"/>
          <ac:spMkLst>
            <pc:docMk/>
            <pc:sldMk cId="3558570575" sldId="2145707039"/>
            <ac:spMk id="106" creationId="{2AB33A40-86E2-2241-1011-88A1B1981B77}"/>
          </ac:spMkLst>
        </pc:spChg>
        <pc:spChg chg="mod">
          <ac:chgData name="Nitish Kumar" userId="dd67aa8a-8cf6-4186-8ec6-f4690f9005b2" providerId="ADAL" clId="{C6D4F506-5911-4DE7-B986-0013CD5AFD26}" dt="2024-05-23T12:21:18.095" v="2715"/>
          <ac:spMkLst>
            <pc:docMk/>
            <pc:sldMk cId="3558570575" sldId="2145707039"/>
            <ac:spMk id="107" creationId="{7DCFF9E2-2D12-5699-831C-F10FBB09D756}"/>
          </ac:spMkLst>
        </pc:spChg>
        <pc:spChg chg="mod">
          <ac:chgData name="Nitish Kumar" userId="dd67aa8a-8cf6-4186-8ec6-f4690f9005b2" providerId="ADAL" clId="{C6D4F506-5911-4DE7-B986-0013CD5AFD26}" dt="2024-05-23T12:21:18.096" v="2716"/>
          <ac:spMkLst>
            <pc:docMk/>
            <pc:sldMk cId="3558570575" sldId="2145707039"/>
            <ac:spMk id="108" creationId="{5933A6E0-57E2-8AC3-7753-1106E1C106AA}"/>
          </ac:spMkLst>
        </pc:spChg>
        <pc:spChg chg="mod">
          <ac:chgData name="Nitish Kumar" userId="dd67aa8a-8cf6-4186-8ec6-f4690f9005b2" providerId="ADAL" clId="{C6D4F506-5911-4DE7-B986-0013CD5AFD26}" dt="2024-05-23T12:21:18.098" v="2717"/>
          <ac:spMkLst>
            <pc:docMk/>
            <pc:sldMk cId="3558570575" sldId="2145707039"/>
            <ac:spMk id="109" creationId="{F32F8EDE-E4C8-C7C4-B5A3-1F97EA49E763}"/>
          </ac:spMkLst>
        </pc:spChg>
        <pc:spChg chg="mod">
          <ac:chgData name="Nitish Kumar" userId="dd67aa8a-8cf6-4186-8ec6-f4690f9005b2" providerId="ADAL" clId="{C6D4F506-5911-4DE7-B986-0013CD5AFD26}" dt="2024-05-23T12:21:18.099" v="2718"/>
          <ac:spMkLst>
            <pc:docMk/>
            <pc:sldMk cId="3558570575" sldId="2145707039"/>
            <ac:spMk id="110" creationId="{6EF988B0-8BD9-BC52-C3BE-242D3C9AA9B4}"/>
          </ac:spMkLst>
        </pc:spChg>
        <pc:spChg chg="mod">
          <ac:chgData name="Nitish Kumar" userId="dd67aa8a-8cf6-4186-8ec6-f4690f9005b2" providerId="ADAL" clId="{C6D4F506-5911-4DE7-B986-0013CD5AFD26}" dt="2024-05-23T12:21:18.101" v="2719"/>
          <ac:spMkLst>
            <pc:docMk/>
            <pc:sldMk cId="3558570575" sldId="2145707039"/>
            <ac:spMk id="111" creationId="{2D212399-FE24-6E96-EE6C-1E900EAB1EF9}"/>
          </ac:spMkLst>
        </pc:spChg>
        <pc:spChg chg="mod">
          <ac:chgData name="Nitish Kumar" userId="dd67aa8a-8cf6-4186-8ec6-f4690f9005b2" providerId="ADAL" clId="{C6D4F506-5911-4DE7-B986-0013CD5AFD26}" dt="2024-05-23T12:21:18.101" v="2720"/>
          <ac:spMkLst>
            <pc:docMk/>
            <pc:sldMk cId="3558570575" sldId="2145707039"/>
            <ac:spMk id="112" creationId="{FEBF7C5C-062B-53EE-386D-A4D42224B20F}"/>
          </ac:spMkLst>
        </pc:spChg>
        <pc:spChg chg="mod">
          <ac:chgData name="Nitish Kumar" userId="dd67aa8a-8cf6-4186-8ec6-f4690f9005b2" providerId="ADAL" clId="{C6D4F506-5911-4DE7-B986-0013CD5AFD26}" dt="2024-05-23T12:21:18.102" v="2721"/>
          <ac:spMkLst>
            <pc:docMk/>
            <pc:sldMk cId="3558570575" sldId="2145707039"/>
            <ac:spMk id="113" creationId="{E36958A5-821B-F040-B667-F8CD56587ED2}"/>
          </ac:spMkLst>
        </pc:spChg>
        <pc:spChg chg="mod">
          <ac:chgData name="Nitish Kumar" userId="dd67aa8a-8cf6-4186-8ec6-f4690f9005b2" providerId="ADAL" clId="{C6D4F506-5911-4DE7-B986-0013CD5AFD26}" dt="2024-05-23T12:21:18.103" v="2722"/>
          <ac:spMkLst>
            <pc:docMk/>
            <pc:sldMk cId="3558570575" sldId="2145707039"/>
            <ac:spMk id="114" creationId="{C98C0458-CC26-047C-3212-A3F519C3C7AC}"/>
          </ac:spMkLst>
        </pc:spChg>
        <pc:spChg chg="mod">
          <ac:chgData name="Nitish Kumar" userId="dd67aa8a-8cf6-4186-8ec6-f4690f9005b2" providerId="ADAL" clId="{C6D4F506-5911-4DE7-B986-0013CD5AFD26}" dt="2024-05-23T12:21:18.104" v="2723"/>
          <ac:spMkLst>
            <pc:docMk/>
            <pc:sldMk cId="3558570575" sldId="2145707039"/>
            <ac:spMk id="115" creationId="{3EF6AFBF-130A-B08A-C09E-F9349B517B61}"/>
          </ac:spMkLst>
        </pc:spChg>
        <pc:spChg chg="mod">
          <ac:chgData name="Nitish Kumar" userId="dd67aa8a-8cf6-4186-8ec6-f4690f9005b2" providerId="ADAL" clId="{C6D4F506-5911-4DE7-B986-0013CD5AFD26}" dt="2024-05-23T12:21:18.105" v="2724"/>
          <ac:spMkLst>
            <pc:docMk/>
            <pc:sldMk cId="3558570575" sldId="2145707039"/>
            <ac:spMk id="116" creationId="{28A7EEEB-219B-404C-13B2-009F6947A5D6}"/>
          </ac:spMkLst>
        </pc:spChg>
        <pc:spChg chg="mod">
          <ac:chgData name="Nitish Kumar" userId="dd67aa8a-8cf6-4186-8ec6-f4690f9005b2" providerId="ADAL" clId="{C6D4F506-5911-4DE7-B986-0013CD5AFD26}" dt="2024-05-23T12:21:18.107" v="2725"/>
          <ac:spMkLst>
            <pc:docMk/>
            <pc:sldMk cId="3558570575" sldId="2145707039"/>
            <ac:spMk id="117" creationId="{F41AD9F2-B8FF-078D-99D2-3FC55B3D6E9B}"/>
          </ac:spMkLst>
        </pc:spChg>
        <pc:spChg chg="mod">
          <ac:chgData name="Nitish Kumar" userId="dd67aa8a-8cf6-4186-8ec6-f4690f9005b2" providerId="ADAL" clId="{C6D4F506-5911-4DE7-B986-0013CD5AFD26}" dt="2024-05-23T12:21:18.108" v="2726"/>
          <ac:spMkLst>
            <pc:docMk/>
            <pc:sldMk cId="3558570575" sldId="2145707039"/>
            <ac:spMk id="118" creationId="{612B2462-01A3-AE5B-F3A1-1F7E39728285}"/>
          </ac:spMkLst>
        </pc:spChg>
        <pc:spChg chg="mod">
          <ac:chgData name="Nitish Kumar" userId="dd67aa8a-8cf6-4186-8ec6-f4690f9005b2" providerId="ADAL" clId="{C6D4F506-5911-4DE7-B986-0013CD5AFD26}" dt="2024-05-23T12:21:18.109" v="2727"/>
          <ac:spMkLst>
            <pc:docMk/>
            <pc:sldMk cId="3558570575" sldId="2145707039"/>
            <ac:spMk id="119" creationId="{CB144303-E8B2-6222-960A-1B754164A5FC}"/>
          </ac:spMkLst>
        </pc:spChg>
        <pc:spChg chg="mod">
          <ac:chgData name="Nitish Kumar" userId="dd67aa8a-8cf6-4186-8ec6-f4690f9005b2" providerId="ADAL" clId="{C6D4F506-5911-4DE7-B986-0013CD5AFD26}" dt="2024-05-23T12:21:18.110" v="2728"/>
          <ac:spMkLst>
            <pc:docMk/>
            <pc:sldMk cId="3558570575" sldId="2145707039"/>
            <ac:spMk id="120" creationId="{B83F8E66-F0EE-42D0-A195-6EDBCF06B410}"/>
          </ac:spMkLst>
        </pc:spChg>
        <pc:spChg chg="mod">
          <ac:chgData name="Nitish Kumar" userId="dd67aa8a-8cf6-4186-8ec6-f4690f9005b2" providerId="ADAL" clId="{C6D4F506-5911-4DE7-B986-0013CD5AFD26}" dt="2024-05-23T12:21:18.111" v="2729"/>
          <ac:spMkLst>
            <pc:docMk/>
            <pc:sldMk cId="3558570575" sldId="2145707039"/>
            <ac:spMk id="121" creationId="{BFDBF665-E4BE-8A25-07C7-473DEA283DE5}"/>
          </ac:spMkLst>
        </pc:spChg>
        <pc:spChg chg="mod">
          <ac:chgData name="Nitish Kumar" userId="dd67aa8a-8cf6-4186-8ec6-f4690f9005b2" providerId="ADAL" clId="{C6D4F506-5911-4DE7-B986-0013CD5AFD26}" dt="2024-05-23T12:21:18.113" v="2730"/>
          <ac:spMkLst>
            <pc:docMk/>
            <pc:sldMk cId="3558570575" sldId="2145707039"/>
            <ac:spMk id="122" creationId="{B7D184F2-AE44-E362-E14B-2D5471365A29}"/>
          </ac:spMkLst>
        </pc:spChg>
        <pc:spChg chg="del mod">
          <ac:chgData name="Nitish Kumar" userId="dd67aa8a-8cf6-4186-8ec6-f4690f9005b2" providerId="ADAL" clId="{C6D4F506-5911-4DE7-B986-0013CD5AFD26}" dt="2024-05-23T12:21:17.652" v="2470"/>
          <ac:spMkLst>
            <pc:docMk/>
            <pc:sldMk cId="3558570575" sldId="2145707039"/>
            <ac:spMk id="123" creationId="{A8692054-A11F-B6D7-ECF6-FAA5ADC6878E}"/>
          </ac:spMkLst>
        </pc:spChg>
        <pc:spChg chg="mod">
          <ac:chgData name="Nitish Kumar" userId="dd67aa8a-8cf6-4186-8ec6-f4690f9005b2" providerId="ADAL" clId="{C6D4F506-5911-4DE7-B986-0013CD5AFD26}" dt="2024-05-23T12:21:18.138" v="2752"/>
          <ac:spMkLst>
            <pc:docMk/>
            <pc:sldMk cId="3558570575" sldId="2145707039"/>
            <ac:spMk id="124" creationId="{F3277B65-A5A2-D0DA-CA92-F2CB85CC15B6}"/>
          </ac:spMkLst>
        </pc:spChg>
        <pc:spChg chg="mod">
          <ac:chgData name="Nitish Kumar" userId="dd67aa8a-8cf6-4186-8ec6-f4690f9005b2" providerId="ADAL" clId="{C6D4F506-5911-4DE7-B986-0013CD5AFD26}" dt="2024-05-23T12:21:18.139" v="2753"/>
          <ac:spMkLst>
            <pc:docMk/>
            <pc:sldMk cId="3558570575" sldId="2145707039"/>
            <ac:spMk id="125" creationId="{ADE48EE3-B7F4-48D9-9C47-B5CF82F9E19E}"/>
          </ac:spMkLst>
        </pc:spChg>
        <pc:spChg chg="mod">
          <ac:chgData name="Nitish Kumar" userId="dd67aa8a-8cf6-4186-8ec6-f4690f9005b2" providerId="ADAL" clId="{C6D4F506-5911-4DE7-B986-0013CD5AFD26}" dt="2024-05-23T12:21:18.140" v="2754"/>
          <ac:spMkLst>
            <pc:docMk/>
            <pc:sldMk cId="3558570575" sldId="2145707039"/>
            <ac:spMk id="126" creationId="{BFB6FCAD-BC3E-0D8A-78A6-E6AD9068366E}"/>
          </ac:spMkLst>
        </pc:spChg>
        <pc:spChg chg="mod">
          <ac:chgData name="Nitish Kumar" userId="dd67aa8a-8cf6-4186-8ec6-f4690f9005b2" providerId="ADAL" clId="{C6D4F506-5911-4DE7-B986-0013CD5AFD26}" dt="2024-05-23T12:21:18.135" v="2751"/>
          <ac:spMkLst>
            <pc:docMk/>
            <pc:sldMk cId="3558570575" sldId="2145707039"/>
            <ac:spMk id="128" creationId="{05A22683-3053-BB27-4624-9EF2FEBBCECF}"/>
          </ac:spMkLst>
        </pc:spChg>
        <pc:spChg chg="mod ord">
          <ac:chgData name="Nitish Kumar" userId="dd67aa8a-8cf6-4186-8ec6-f4690f9005b2" providerId="ADAL" clId="{C6D4F506-5911-4DE7-B986-0013CD5AFD26}" dt="2024-05-23T12:21:18.144" v="2760"/>
          <ac:spMkLst>
            <pc:docMk/>
            <pc:sldMk cId="3558570575" sldId="2145707039"/>
            <ac:spMk id="220" creationId="{5F04E1C9-4631-9DF1-F5CF-BAD783F6E774}"/>
          </ac:spMkLst>
        </pc:spChg>
        <pc:spChg chg="mod ord">
          <ac:chgData name="Nitish Kumar" userId="dd67aa8a-8cf6-4186-8ec6-f4690f9005b2" providerId="ADAL" clId="{C6D4F506-5911-4DE7-B986-0013CD5AFD26}" dt="2024-05-23T12:21:18.145" v="2762"/>
          <ac:spMkLst>
            <pc:docMk/>
            <pc:sldMk cId="3558570575" sldId="2145707039"/>
            <ac:spMk id="221" creationId="{28827DF5-8485-29B0-E49D-6F7EA7D464B2}"/>
          </ac:spMkLst>
        </pc:spChg>
        <pc:spChg chg="mod">
          <ac:chgData name="Nitish Kumar" userId="dd67aa8a-8cf6-4186-8ec6-f4690f9005b2" providerId="ADAL" clId="{C6D4F506-5911-4DE7-B986-0013CD5AFD26}" dt="2024-05-23T12:21:18.078" v="2696"/>
          <ac:spMkLst>
            <pc:docMk/>
            <pc:sldMk cId="3558570575" sldId="2145707039"/>
            <ac:spMk id="311" creationId="{F88ED58A-0C7D-1A99-A577-3734A05D931A}"/>
          </ac:spMkLst>
        </pc:spChg>
        <pc:spChg chg="mod">
          <ac:chgData name="Nitish Kumar" userId="dd67aa8a-8cf6-4186-8ec6-f4690f9005b2" providerId="ADAL" clId="{C6D4F506-5911-4DE7-B986-0013CD5AFD26}" dt="2024-05-23T12:21:18.079" v="2697"/>
          <ac:spMkLst>
            <pc:docMk/>
            <pc:sldMk cId="3558570575" sldId="2145707039"/>
            <ac:spMk id="318" creationId="{66372AE1-687B-B825-1D72-2C1AE5A8A075}"/>
          </ac:spMkLst>
        </pc:spChg>
        <pc:spChg chg="mod">
          <ac:chgData name="Nitish Kumar" userId="dd67aa8a-8cf6-4186-8ec6-f4690f9005b2" providerId="ADAL" clId="{C6D4F506-5911-4DE7-B986-0013CD5AFD26}" dt="2024-05-23T12:21:18.080" v="2698"/>
          <ac:spMkLst>
            <pc:docMk/>
            <pc:sldMk cId="3558570575" sldId="2145707039"/>
            <ac:spMk id="330" creationId="{E7DED3B5-9095-9966-C412-609301CAD1D4}"/>
          </ac:spMkLst>
        </pc:spChg>
        <pc:spChg chg="mod">
          <ac:chgData name="Nitish Kumar" userId="dd67aa8a-8cf6-4186-8ec6-f4690f9005b2" providerId="ADAL" clId="{C6D4F506-5911-4DE7-B986-0013CD5AFD26}" dt="2024-05-23T12:21:18.081" v="2699"/>
          <ac:spMkLst>
            <pc:docMk/>
            <pc:sldMk cId="3558570575" sldId="2145707039"/>
            <ac:spMk id="331" creationId="{E125A540-70AD-BDA4-9075-2A41DDA47063}"/>
          </ac:spMkLst>
        </pc:spChg>
        <pc:spChg chg="mod">
          <ac:chgData name="Nitish Kumar" userId="dd67aa8a-8cf6-4186-8ec6-f4690f9005b2" providerId="ADAL" clId="{C6D4F506-5911-4DE7-B986-0013CD5AFD26}" dt="2024-05-23T12:21:18.083" v="2700"/>
          <ac:spMkLst>
            <pc:docMk/>
            <pc:sldMk cId="3558570575" sldId="2145707039"/>
            <ac:spMk id="332" creationId="{C75638C3-95F8-2832-2AB0-62423B9B4E03}"/>
          </ac:spMkLst>
        </pc:spChg>
        <pc:spChg chg="mod">
          <ac:chgData name="Nitish Kumar" userId="dd67aa8a-8cf6-4186-8ec6-f4690f9005b2" providerId="ADAL" clId="{C6D4F506-5911-4DE7-B986-0013CD5AFD26}" dt="2024-05-23T12:21:18.083" v="2701"/>
          <ac:spMkLst>
            <pc:docMk/>
            <pc:sldMk cId="3558570575" sldId="2145707039"/>
            <ac:spMk id="334" creationId="{46C18EB9-D927-34BE-0682-4EEDFBF17BD6}"/>
          </ac:spMkLst>
        </pc:spChg>
        <pc:spChg chg="mod">
          <ac:chgData name="Nitish Kumar" userId="dd67aa8a-8cf6-4186-8ec6-f4690f9005b2" providerId="ADAL" clId="{C6D4F506-5911-4DE7-B986-0013CD5AFD26}" dt="2024-05-23T12:21:18.084" v="2702"/>
          <ac:spMkLst>
            <pc:docMk/>
            <pc:sldMk cId="3558570575" sldId="2145707039"/>
            <ac:spMk id="335" creationId="{9C815915-814A-C008-C769-500263A1D32D}"/>
          </ac:spMkLst>
        </pc:spChg>
        <pc:spChg chg="mod">
          <ac:chgData name="Nitish Kumar" userId="dd67aa8a-8cf6-4186-8ec6-f4690f9005b2" providerId="ADAL" clId="{C6D4F506-5911-4DE7-B986-0013CD5AFD26}" dt="2024-05-23T12:21:18.086" v="2703"/>
          <ac:spMkLst>
            <pc:docMk/>
            <pc:sldMk cId="3558570575" sldId="2145707039"/>
            <ac:spMk id="336" creationId="{D6C5C9E5-46F3-30EE-0D40-AE9A1634A296}"/>
          </ac:spMkLst>
        </pc:spChg>
        <pc:spChg chg="mod">
          <ac:chgData name="Nitish Kumar" userId="dd67aa8a-8cf6-4186-8ec6-f4690f9005b2" providerId="ADAL" clId="{C6D4F506-5911-4DE7-B986-0013CD5AFD26}" dt="2024-05-23T12:21:18.086" v="2704"/>
          <ac:spMkLst>
            <pc:docMk/>
            <pc:sldMk cId="3558570575" sldId="2145707039"/>
            <ac:spMk id="338" creationId="{7677C757-899C-FDE9-B889-C9DCBD44B321}"/>
          </ac:spMkLst>
        </pc:spChg>
        <pc:spChg chg="mod">
          <ac:chgData name="Nitish Kumar" userId="dd67aa8a-8cf6-4186-8ec6-f4690f9005b2" providerId="ADAL" clId="{C6D4F506-5911-4DE7-B986-0013CD5AFD26}" dt="2024-05-23T12:21:18.087" v="2705"/>
          <ac:spMkLst>
            <pc:docMk/>
            <pc:sldMk cId="3558570575" sldId="2145707039"/>
            <ac:spMk id="339" creationId="{AEE7F6D1-F441-6C5F-0DC0-3DBBC6259377}"/>
          </ac:spMkLst>
        </pc:spChg>
        <pc:spChg chg="mod">
          <ac:chgData name="Nitish Kumar" userId="dd67aa8a-8cf6-4186-8ec6-f4690f9005b2" providerId="ADAL" clId="{C6D4F506-5911-4DE7-B986-0013CD5AFD26}" dt="2024-05-23T12:21:18.088" v="2706"/>
          <ac:spMkLst>
            <pc:docMk/>
            <pc:sldMk cId="3558570575" sldId="2145707039"/>
            <ac:spMk id="340" creationId="{83FC96B6-A9BF-4231-C3C1-03C13C3B099C}"/>
          </ac:spMkLst>
        </pc:spChg>
        <pc:spChg chg="mod">
          <ac:chgData name="Nitish Kumar" userId="dd67aa8a-8cf6-4186-8ec6-f4690f9005b2" providerId="ADAL" clId="{C6D4F506-5911-4DE7-B986-0013CD5AFD26}" dt="2024-05-23T12:21:18.088" v="2707"/>
          <ac:spMkLst>
            <pc:docMk/>
            <pc:sldMk cId="3558570575" sldId="2145707039"/>
            <ac:spMk id="341" creationId="{CC9E2FCC-C153-A8DD-C6D5-53809C470C6E}"/>
          </ac:spMkLst>
        </pc:spChg>
        <pc:spChg chg="mod">
          <ac:chgData name="Nitish Kumar" userId="dd67aa8a-8cf6-4186-8ec6-f4690f9005b2" providerId="ADAL" clId="{C6D4F506-5911-4DE7-B986-0013CD5AFD26}" dt="2024-05-23T12:21:18.088" v="2708"/>
          <ac:spMkLst>
            <pc:docMk/>
            <pc:sldMk cId="3558570575" sldId="2145707039"/>
            <ac:spMk id="342" creationId="{848597F6-9D30-AFBC-B721-70D63217BD90}"/>
          </ac:spMkLst>
        </pc:spChg>
        <pc:spChg chg="mod">
          <ac:chgData name="Nitish Kumar" userId="dd67aa8a-8cf6-4186-8ec6-f4690f9005b2" providerId="ADAL" clId="{C6D4F506-5911-4DE7-B986-0013CD5AFD26}" dt="2024-05-23T12:21:18.089" v="2709"/>
          <ac:spMkLst>
            <pc:docMk/>
            <pc:sldMk cId="3558570575" sldId="2145707039"/>
            <ac:spMk id="343" creationId="{322AFE1C-CE9C-8799-36F5-6FDCFFDC58AB}"/>
          </ac:spMkLst>
        </pc:spChg>
        <pc:spChg chg="mod">
          <ac:chgData name="Nitish Kumar" userId="dd67aa8a-8cf6-4186-8ec6-f4690f9005b2" providerId="ADAL" clId="{C6D4F506-5911-4DE7-B986-0013CD5AFD26}" dt="2024-05-23T12:21:18.089" v="2710"/>
          <ac:spMkLst>
            <pc:docMk/>
            <pc:sldMk cId="3558570575" sldId="2145707039"/>
            <ac:spMk id="344" creationId="{E3BE68D2-D3EF-8E5D-347B-D416D925190D}"/>
          </ac:spMkLst>
        </pc:spChg>
        <pc:spChg chg="mod">
          <ac:chgData name="Nitish Kumar" userId="dd67aa8a-8cf6-4186-8ec6-f4690f9005b2" providerId="ADAL" clId="{C6D4F506-5911-4DE7-B986-0013CD5AFD26}" dt="2024-05-23T12:21:18.090" v="2711"/>
          <ac:spMkLst>
            <pc:docMk/>
            <pc:sldMk cId="3558570575" sldId="2145707039"/>
            <ac:spMk id="345" creationId="{3D8A63B7-91D3-9A31-627D-4DA530BAE604}"/>
          </ac:spMkLst>
        </pc:spChg>
        <pc:spChg chg="mod">
          <ac:chgData name="Nitish Kumar" userId="dd67aa8a-8cf6-4186-8ec6-f4690f9005b2" providerId="ADAL" clId="{C6D4F506-5911-4DE7-B986-0013CD5AFD26}" dt="2024-05-23T12:21:18.091" v="2712"/>
          <ac:spMkLst>
            <pc:docMk/>
            <pc:sldMk cId="3558570575" sldId="2145707039"/>
            <ac:spMk id="346" creationId="{0A3BF11E-FE87-7D71-9EB1-D30DDDAAA06A}"/>
          </ac:spMkLst>
        </pc:spChg>
        <pc:spChg chg="del">
          <ac:chgData name="Nitish Kumar" userId="dd67aa8a-8cf6-4186-8ec6-f4690f9005b2" providerId="ADAL" clId="{C6D4F506-5911-4DE7-B986-0013CD5AFD26}" dt="2024-05-23T12:21:05.373" v="2146"/>
          <ac:spMkLst>
            <pc:docMk/>
            <pc:sldMk cId="3558570575" sldId="2145707039"/>
            <ac:spMk id="347" creationId="{B9DACF61-4AFD-EDA2-433A-2C3886C4F387}"/>
          </ac:spMkLst>
        </pc:spChg>
        <pc:spChg chg="mod">
          <ac:chgData name="Nitish Kumar" userId="dd67aa8a-8cf6-4186-8ec6-f4690f9005b2" providerId="ADAL" clId="{C6D4F506-5911-4DE7-B986-0013CD5AFD26}" dt="2024-05-23T12:21:18.122" v="2740"/>
          <ac:spMkLst>
            <pc:docMk/>
            <pc:sldMk cId="3558570575" sldId="2145707039"/>
            <ac:spMk id="348" creationId="{A147D908-9836-0F0D-85D4-8C6862F99243}"/>
          </ac:spMkLst>
        </pc:spChg>
        <pc:spChg chg="mod">
          <ac:chgData name="Nitish Kumar" userId="dd67aa8a-8cf6-4186-8ec6-f4690f9005b2" providerId="ADAL" clId="{C6D4F506-5911-4DE7-B986-0013CD5AFD26}" dt="2024-05-23T12:21:18.123" v="2741"/>
          <ac:spMkLst>
            <pc:docMk/>
            <pc:sldMk cId="3558570575" sldId="2145707039"/>
            <ac:spMk id="349" creationId="{364F5A6C-1E81-9521-E58B-BDDE801D9B91}"/>
          </ac:spMkLst>
        </pc:spChg>
        <pc:spChg chg="mod">
          <ac:chgData name="Nitish Kumar" userId="dd67aa8a-8cf6-4186-8ec6-f4690f9005b2" providerId="ADAL" clId="{C6D4F506-5911-4DE7-B986-0013CD5AFD26}" dt="2024-05-23T12:21:18.124" v="2742"/>
          <ac:spMkLst>
            <pc:docMk/>
            <pc:sldMk cId="3558570575" sldId="2145707039"/>
            <ac:spMk id="350" creationId="{1718C9F3-76B1-A985-2CB3-1F1A97453490}"/>
          </ac:spMkLst>
        </pc:spChg>
        <pc:spChg chg="mod ord">
          <ac:chgData name="Nitish Kumar" userId="dd67aa8a-8cf6-4186-8ec6-f4690f9005b2" providerId="ADAL" clId="{C6D4F506-5911-4DE7-B986-0013CD5AFD26}" dt="2024-05-23T12:21:18.147" v="2764"/>
          <ac:spMkLst>
            <pc:docMk/>
            <pc:sldMk cId="3558570575" sldId="2145707039"/>
            <ac:spMk id="378" creationId="{9BCAF968-33AB-0D0F-99EE-14792FB187AD}"/>
          </ac:spMkLst>
        </pc:spChg>
        <pc:graphicFrameChg chg="add mod replST">
          <ac:chgData name="Nitish Kumar" userId="dd67aa8a-8cf6-4186-8ec6-f4690f9005b2" providerId="ADAL" clId="{C6D4F506-5911-4DE7-B986-0013CD5AFD26}" dt="2024-05-23T12:21:18.077" v="2695"/>
          <ac:graphicFrameMkLst>
            <pc:docMk/>
            <pc:sldMk cId="3558570575" sldId="2145707039"/>
            <ac:graphicFrameMk id="3" creationId="{D966006B-6676-B877-AA42-BD1F94972068}"/>
          </ac:graphicFrameMkLst>
        </pc:graphicFrameChg>
        <pc:graphicFrameChg chg="add mod replST">
          <ac:chgData name="Nitish Kumar" userId="dd67aa8a-8cf6-4186-8ec6-f4690f9005b2" providerId="ADAL" clId="{C6D4F506-5911-4DE7-B986-0013CD5AFD26}" dt="2024-05-23T12:21:18.092" v="2713"/>
          <ac:graphicFrameMkLst>
            <pc:docMk/>
            <pc:sldMk cId="3558570575" sldId="2145707039"/>
            <ac:graphicFrameMk id="5" creationId="{A84E4042-309A-5F9E-6EE4-C9A5770CE4E6}"/>
          </ac:graphicFrameMkLst>
        </pc:graphicFrameChg>
        <pc:graphicFrameChg chg="mod">
          <ac:chgData name="Nitish Kumar" userId="dd67aa8a-8cf6-4186-8ec6-f4690f9005b2" providerId="ADAL" clId="{C6D4F506-5911-4DE7-B986-0013CD5AFD26}" dt="2024-05-23T12:21:18.175" v="2770"/>
          <ac:graphicFrameMkLst>
            <pc:docMk/>
            <pc:sldMk cId="3558570575" sldId="2145707039"/>
            <ac:graphicFrameMk id="17" creationId="{07B3A3D5-1AF5-64C3-3411-164A3A53EF2A}"/>
          </ac:graphicFrameMkLst>
        </pc:graphicFrameChg>
        <pc:graphicFrameChg chg="mod ord">
          <ac:chgData name="Nitish Kumar" userId="dd67aa8a-8cf6-4186-8ec6-f4690f9005b2" providerId="ADAL" clId="{C6D4F506-5911-4DE7-B986-0013CD5AFD26}" dt="2024-05-23T12:21:31.075" v="2771" actId="1076"/>
          <ac:graphicFrameMkLst>
            <pc:docMk/>
            <pc:sldMk cId="3558570575" sldId="2145707039"/>
            <ac:graphicFrameMk id="145" creationId="{F83C7907-94C2-11EB-750A-F5447896D6B1}"/>
          </ac:graphicFrameMkLst>
        </pc:graphicFrameChg>
        <pc:graphicFrameChg chg="del mod">
          <ac:chgData name="Nitish Kumar" userId="dd67aa8a-8cf6-4186-8ec6-f4690f9005b2" providerId="ADAL" clId="{C6D4F506-5911-4DE7-B986-0013CD5AFD26}" dt="2024-05-23T12:21:17.955" v="2620"/>
          <ac:graphicFrameMkLst>
            <pc:docMk/>
            <pc:sldMk cId="3558570575" sldId="2145707039"/>
            <ac:graphicFrameMk id="375" creationId="{31B52C60-AA33-1026-9AF9-F08F84F53A7E}"/>
          </ac:graphicFrameMkLst>
        </pc:graphicFrameChg>
        <pc:graphicFrameChg chg="del">
          <ac:chgData name="Nitish Kumar" userId="dd67aa8a-8cf6-4186-8ec6-f4690f9005b2" providerId="ADAL" clId="{C6D4F506-5911-4DE7-B986-0013CD5AFD26}" dt="2024-05-23T12:21:05.764" v="2318"/>
          <ac:graphicFrameMkLst>
            <pc:docMk/>
            <pc:sldMk cId="3558570575" sldId="2145707039"/>
            <ac:graphicFrameMk id="377" creationId="{C4DAEB95-EDBC-B85C-6598-AE59C43D2BFB}"/>
          </ac:graphicFrameMkLst>
        </pc:graphicFrameChg>
        <pc:cxnChg chg="mod ord">
          <ac:chgData name="Nitish Kumar" userId="dd67aa8a-8cf6-4186-8ec6-f4690f9005b2" providerId="ADAL" clId="{C6D4F506-5911-4DE7-B986-0013CD5AFD26}" dt="2024-05-23T12:21:18.116" v="2732"/>
          <ac:cxnSpMkLst>
            <pc:docMk/>
            <pc:sldMk cId="3558570575" sldId="2145707039"/>
            <ac:cxnSpMk id="135" creationId="{F69F3361-C001-6FEE-68BB-AC7BCD9C356C}"/>
          </ac:cxnSpMkLst>
        </pc:cxnChg>
        <pc:cxnChg chg="mod ord">
          <ac:chgData name="Nitish Kumar" userId="dd67aa8a-8cf6-4186-8ec6-f4690f9005b2" providerId="ADAL" clId="{C6D4F506-5911-4DE7-B986-0013CD5AFD26}" dt="2024-05-23T12:21:18.117" v="2734"/>
          <ac:cxnSpMkLst>
            <pc:docMk/>
            <pc:sldMk cId="3558570575" sldId="2145707039"/>
            <ac:cxnSpMk id="136" creationId="{DC6DBBE5-FCBC-484F-93DF-34C7AAB9F9D0}"/>
          </ac:cxnSpMkLst>
        </pc:cxnChg>
        <pc:cxnChg chg="mod ord">
          <ac:chgData name="Nitish Kumar" userId="dd67aa8a-8cf6-4186-8ec6-f4690f9005b2" providerId="ADAL" clId="{C6D4F506-5911-4DE7-B986-0013CD5AFD26}" dt="2024-05-23T12:21:18.118" v="2736"/>
          <ac:cxnSpMkLst>
            <pc:docMk/>
            <pc:sldMk cId="3558570575" sldId="2145707039"/>
            <ac:cxnSpMk id="137" creationId="{E0D272F1-4158-4B7D-13E6-CA1684339A67}"/>
          </ac:cxnSpMkLst>
        </pc:cxnChg>
        <pc:cxnChg chg="mod ord">
          <ac:chgData name="Nitish Kumar" userId="dd67aa8a-8cf6-4186-8ec6-f4690f9005b2" providerId="ADAL" clId="{C6D4F506-5911-4DE7-B986-0013CD5AFD26}" dt="2024-05-23T12:21:18.119" v="2738"/>
          <ac:cxnSpMkLst>
            <pc:docMk/>
            <pc:sldMk cId="3558570575" sldId="2145707039"/>
            <ac:cxnSpMk id="138" creationId="{F1FB04C9-5B18-BEFB-4F39-054857DC7669}"/>
          </ac:cxnSpMkLst>
        </pc:cxnChg>
        <pc:cxnChg chg="mod ord">
          <ac:chgData name="Nitish Kumar" userId="dd67aa8a-8cf6-4186-8ec6-f4690f9005b2" providerId="ADAL" clId="{C6D4F506-5911-4DE7-B986-0013CD5AFD26}" dt="2024-05-23T12:21:18.125" v="2744"/>
          <ac:cxnSpMkLst>
            <pc:docMk/>
            <pc:sldMk cId="3558570575" sldId="2145707039"/>
            <ac:cxnSpMk id="141" creationId="{BEDC1F8F-C778-6AA4-097C-3BD0DF569D1C}"/>
          </ac:cxnSpMkLst>
        </pc:cxnChg>
        <pc:cxnChg chg="mod ord">
          <ac:chgData name="Nitish Kumar" userId="dd67aa8a-8cf6-4186-8ec6-f4690f9005b2" providerId="ADAL" clId="{C6D4F506-5911-4DE7-B986-0013CD5AFD26}" dt="2024-05-23T12:21:18.127" v="2746"/>
          <ac:cxnSpMkLst>
            <pc:docMk/>
            <pc:sldMk cId="3558570575" sldId="2145707039"/>
            <ac:cxnSpMk id="142" creationId="{61DF50E9-2AAE-C001-5C1A-26512B1E2112}"/>
          </ac:cxnSpMkLst>
        </pc:cxnChg>
        <pc:cxnChg chg="mod ord">
          <ac:chgData name="Nitish Kumar" userId="dd67aa8a-8cf6-4186-8ec6-f4690f9005b2" providerId="ADAL" clId="{C6D4F506-5911-4DE7-B986-0013CD5AFD26}" dt="2024-05-23T12:21:18.131" v="2748"/>
          <ac:cxnSpMkLst>
            <pc:docMk/>
            <pc:sldMk cId="3558570575" sldId="2145707039"/>
            <ac:cxnSpMk id="143" creationId="{8BFDB50D-3D8F-3464-4BE6-6B2E6A56DF04}"/>
          </ac:cxnSpMkLst>
        </pc:cxnChg>
        <pc:cxnChg chg="mod ord">
          <ac:chgData name="Nitish Kumar" userId="dd67aa8a-8cf6-4186-8ec6-f4690f9005b2" providerId="ADAL" clId="{C6D4F506-5911-4DE7-B986-0013CD5AFD26}" dt="2024-05-23T12:21:18.132" v="2750"/>
          <ac:cxnSpMkLst>
            <pc:docMk/>
            <pc:sldMk cId="3558570575" sldId="2145707039"/>
            <ac:cxnSpMk id="144" creationId="{D1A05728-64DD-D625-27DD-9E8F9C84827F}"/>
          </ac:cxnSpMkLst>
        </pc:cxnChg>
        <pc:cxnChg chg="mod ord">
          <ac:chgData name="Nitish Kumar" userId="dd67aa8a-8cf6-4186-8ec6-f4690f9005b2" providerId="ADAL" clId="{C6D4F506-5911-4DE7-B986-0013CD5AFD26}" dt="2024-05-23T12:21:38.497" v="2772" actId="1076"/>
          <ac:cxnSpMkLst>
            <pc:docMk/>
            <pc:sldMk cId="3558570575" sldId="2145707039"/>
            <ac:cxnSpMk id="146" creationId="{953B6D42-BD2A-B636-B957-10D57BAF24CC}"/>
          </ac:cxnSpMkLst>
        </pc:cxnChg>
      </pc:sldChg>
      <pc:sldChg chg="addSp delSp modSp mod">
        <pc:chgData name="Nitish Kumar" userId="dd67aa8a-8cf6-4186-8ec6-f4690f9005b2" providerId="ADAL" clId="{C6D4F506-5911-4DE7-B986-0013CD5AFD26}" dt="2024-05-23T10:34:02.094" v="713" actId="14100"/>
        <pc:sldMkLst>
          <pc:docMk/>
          <pc:sldMk cId="3635034951" sldId="2145707041"/>
        </pc:sldMkLst>
        <pc:spChg chg="mod">
          <ac:chgData name="Nitish Kumar" userId="dd67aa8a-8cf6-4186-8ec6-f4690f9005b2" providerId="ADAL" clId="{C6D4F506-5911-4DE7-B986-0013CD5AFD26}" dt="2024-05-23T10:34:02.094" v="713" actId="14100"/>
          <ac:spMkLst>
            <pc:docMk/>
            <pc:sldMk cId="3635034951" sldId="2145707041"/>
            <ac:spMk id="2" creationId="{0757787C-850C-CA88-69D1-5081CB8EDC1D}"/>
          </ac:spMkLst>
        </pc:spChg>
        <pc:spChg chg="add mod">
          <ac:chgData name="Nitish Kumar" userId="dd67aa8a-8cf6-4186-8ec6-f4690f9005b2" providerId="ADAL" clId="{C6D4F506-5911-4DE7-B986-0013CD5AFD26}" dt="2024-05-23T10:33:26.521" v="711" actId="20577"/>
          <ac:spMkLst>
            <pc:docMk/>
            <pc:sldMk cId="3635034951" sldId="2145707041"/>
            <ac:spMk id="4" creationId="{A1EF8BA1-05A7-AF4D-1E45-4293EB554390}"/>
          </ac:spMkLst>
        </pc:spChg>
        <pc:spChg chg="del">
          <ac:chgData name="Nitish Kumar" userId="dd67aa8a-8cf6-4186-8ec6-f4690f9005b2" providerId="ADAL" clId="{C6D4F506-5911-4DE7-B986-0013CD5AFD26}" dt="2024-05-23T10:32:56.577" v="644" actId="478"/>
          <ac:spMkLst>
            <pc:docMk/>
            <pc:sldMk cId="3635034951" sldId="2145707041"/>
            <ac:spMk id="14" creationId="{CA6DE534-73CB-394C-AE1B-A9D3C4997DFA}"/>
          </ac:spMkLst>
        </pc:spChg>
        <pc:graphicFrameChg chg="mod modGraphic">
          <ac:chgData name="Nitish Kumar" userId="dd67aa8a-8cf6-4186-8ec6-f4690f9005b2" providerId="ADAL" clId="{C6D4F506-5911-4DE7-B986-0013CD5AFD26}" dt="2024-05-23T08:15:27.102" v="43"/>
          <ac:graphicFrameMkLst>
            <pc:docMk/>
            <pc:sldMk cId="3635034951" sldId="2145707041"/>
            <ac:graphicFrameMk id="13" creationId="{B0D74D87-0F5A-62A3-6710-EA5D62E34148}"/>
          </ac:graphicFrameMkLst>
        </pc:graphicFrameChg>
      </pc:sldChg>
      <pc:sldChg chg="del">
        <pc:chgData name="Nitish Kumar" userId="dd67aa8a-8cf6-4186-8ec6-f4690f9005b2" providerId="ADAL" clId="{C6D4F506-5911-4DE7-B986-0013CD5AFD26}" dt="2024-05-23T11:41:33.350" v="1220" actId="47"/>
        <pc:sldMkLst>
          <pc:docMk/>
          <pc:sldMk cId="2512811111" sldId="2145707042"/>
        </pc:sldMkLst>
      </pc:sldChg>
      <pc:sldChg chg="modSp del mod">
        <pc:chgData name="Nitish Kumar" userId="dd67aa8a-8cf6-4186-8ec6-f4690f9005b2" providerId="ADAL" clId="{C6D4F506-5911-4DE7-B986-0013CD5AFD26}" dt="2024-05-23T13:37:24.952" v="4377" actId="2696"/>
        <pc:sldMkLst>
          <pc:docMk/>
          <pc:sldMk cId="2782308417" sldId="2145707043"/>
        </pc:sldMkLst>
        <pc:spChg chg="mod">
          <ac:chgData name="Nitish Kumar" userId="dd67aa8a-8cf6-4186-8ec6-f4690f9005b2" providerId="ADAL" clId="{C6D4F506-5911-4DE7-B986-0013CD5AFD26}" dt="2024-05-23T10:38:08" v="893" actId="1076"/>
          <ac:spMkLst>
            <pc:docMk/>
            <pc:sldMk cId="2782308417" sldId="2145707043"/>
            <ac:spMk id="14" creationId="{A90532B1-2BBB-B4BF-1F1E-45B362A85279}"/>
          </ac:spMkLst>
        </pc:spChg>
      </pc:sldChg>
      <pc:sldChg chg="add">
        <pc:chgData name="Nitish Kumar" userId="dd67aa8a-8cf6-4186-8ec6-f4690f9005b2" providerId="ADAL" clId="{C6D4F506-5911-4DE7-B986-0013CD5AFD26}" dt="2024-05-23T13:37:37.523" v="4378"/>
        <pc:sldMkLst>
          <pc:docMk/>
          <pc:sldMk cId="3185809126" sldId="2145707043"/>
        </pc:sldMkLst>
      </pc:sldChg>
      <pc:sldChg chg="del">
        <pc:chgData name="Nitish Kumar" userId="dd67aa8a-8cf6-4186-8ec6-f4690f9005b2" providerId="ADAL" clId="{C6D4F506-5911-4DE7-B986-0013CD5AFD26}" dt="2024-05-23T11:26:32.850" v="1210" actId="47"/>
        <pc:sldMkLst>
          <pc:docMk/>
          <pc:sldMk cId="2596653599" sldId="2145707044"/>
        </pc:sldMkLst>
      </pc:sldChg>
      <pc:sldChg chg="del">
        <pc:chgData name="Nitish Kumar" userId="dd67aa8a-8cf6-4186-8ec6-f4690f9005b2" providerId="ADAL" clId="{C6D4F506-5911-4DE7-B986-0013CD5AFD26}" dt="2024-05-23T10:23:55.580" v="343" actId="47"/>
        <pc:sldMkLst>
          <pc:docMk/>
          <pc:sldMk cId="1616155403" sldId="2145707045"/>
        </pc:sldMkLst>
      </pc:sldChg>
      <pc:sldChg chg="addSp delSp modSp mod ord">
        <pc:chgData name="Nitish Kumar" userId="dd67aa8a-8cf6-4186-8ec6-f4690f9005b2" providerId="ADAL" clId="{C6D4F506-5911-4DE7-B986-0013CD5AFD26}" dt="2024-05-23T13:21:37.438" v="4376" actId="1076"/>
        <pc:sldMkLst>
          <pc:docMk/>
          <pc:sldMk cId="2127289387" sldId="2145707046"/>
        </pc:sldMkLst>
        <pc:spChg chg="mod">
          <ac:chgData name="Nitish Kumar" userId="dd67aa8a-8cf6-4186-8ec6-f4690f9005b2" providerId="ADAL" clId="{C6D4F506-5911-4DE7-B986-0013CD5AFD26}" dt="2024-05-23T11:55:10.596" v="1456" actId="207"/>
          <ac:spMkLst>
            <pc:docMk/>
            <pc:sldMk cId="2127289387" sldId="2145707046"/>
            <ac:spMk id="7" creationId="{7C0508BA-BE97-CE62-E7D0-79E338DF364B}"/>
          </ac:spMkLst>
        </pc:spChg>
        <pc:spChg chg="add mod">
          <ac:chgData name="Nitish Kumar" userId="dd67aa8a-8cf6-4186-8ec6-f4690f9005b2" providerId="ADAL" clId="{C6D4F506-5911-4DE7-B986-0013CD5AFD26}" dt="2024-05-23T11:59:13.715" v="1534" actId="5793"/>
          <ac:spMkLst>
            <pc:docMk/>
            <pc:sldMk cId="2127289387" sldId="2145707046"/>
            <ac:spMk id="9" creationId="{CA90ABC2-0065-1705-486A-3FFC2BD0663A}"/>
          </ac:spMkLst>
        </pc:spChg>
        <pc:spChg chg="add del mod">
          <ac:chgData name="Nitish Kumar" userId="dd67aa8a-8cf6-4186-8ec6-f4690f9005b2" providerId="ADAL" clId="{C6D4F506-5911-4DE7-B986-0013CD5AFD26}" dt="2024-05-23T11:54:15.905" v="1451"/>
          <ac:spMkLst>
            <pc:docMk/>
            <pc:sldMk cId="2127289387" sldId="2145707046"/>
            <ac:spMk id="10" creationId="{2050D8D9-72F9-0685-573D-35FEBB71C43F}"/>
          </ac:spMkLst>
        </pc:spChg>
        <pc:spChg chg="add mod">
          <ac:chgData name="Nitish Kumar" userId="dd67aa8a-8cf6-4186-8ec6-f4690f9005b2" providerId="ADAL" clId="{C6D4F506-5911-4DE7-B986-0013CD5AFD26}" dt="2024-05-23T11:56:44.515" v="1464" actId="404"/>
          <ac:spMkLst>
            <pc:docMk/>
            <pc:sldMk cId="2127289387" sldId="2145707046"/>
            <ac:spMk id="11" creationId="{98BCB16C-16D4-3F29-879E-F1F262EDC86B}"/>
          </ac:spMkLst>
        </pc:spChg>
        <pc:spChg chg="add mod">
          <ac:chgData name="Nitish Kumar" userId="dd67aa8a-8cf6-4186-8ec6-f4690f9005b2" providerId="ADAL" clId="{C6D4F506-5911-4DE7-B986-0013CD5AFD26}" dt="2024-05-23T11:56:37.501" v="1462" actId="404"/>
          <ac:spMkLst>
            <pc:docMk/>
            <pc:sldMk cId="2127289387" sldId="2145707046"/>
            <ac:spMk id="12" creationId="{AE5F45CF-FCEE-BB2B-3354-5AB83AB749BC}"/>
          </ac:spMkLst>
        </pc:spChg>
        <pc:spChg chg="mod">
          <ac:chgData name="Nitish Kumar" userId="dd67aa8a-8cf6-4186-8ec6-f4690f9005b2" providerId="ADAL" clId="{C6D4F506-5911-4DE7-B986-0013CD5AFD26}" dt="2024-05-23T11:55:08.338" v="1455" actId="207"/>
          <ac:spMkLst>
            <pc:docMk/>
            <pc:sldMk cId="2127289387" sldId="2145707046"/>
            <ac:spMk id="18" creationId="{1854BBCE-91B1-05B5-B420-B2F9B7BA1C68}"/>
          </ac:spMkLst>
        </pc:spChg>
        <pc:grpChg chg="del mod">
          <ac:chgData name="Nitish Kumar" userId="dd67aa8a-8cf6-4186-8ec6-f4690f9005b2" providerId="ADAL" clId="{C6D4F506-5911-4DE7-B986-0013CD5AFD26}" dt="2024-05-23T11:40:11.853" v="1218" actId="478"/>
          <ac:grpSpMkLst>
            <pc:docMk/>
            <pc:sldMk cId="2127289387" sldId="2145707046"/>
            <ac:grpSpMk id="5" creationId="{92A6F336-58AC-4A94-72DB-5CFB79ED6F6C}"/>
          </ac:grpSpMkLst>
        </pc:grpChg>
        <pc:graphicFrameChg chg="add del mod">
          <ac:chgData name="Nitish Kumar" userId="dd67aa8a-8cf6-4186-8ec6-f4690f9005b2" providerId="ADAL" clId="{C6D4F506-5911-4DE7-B986-0013CD5AFD26}" dt="2024-05-23T11:49:16.510" v="1233" actId="478"/>
          <ac:graphicFrameMkLst>
            <pc:docMk/>
            <pc:sldMk cId="2127289387" sldId="2145707046"/>
            <ac:graphicFrameMk id="3" creationId="{B4C5B1B7-8875-D535-E87A-DAB020BDA96F}"/>
          </ac:graphicFrameMkLst>
        </pc:graphicFrameChg>
        <pc:graphicFrameChg chg="mod">
          <ac:chgData name="Nitish Kumar" userId="dd67aa8a-8cf6-4186-8ec6-f4690f9005b2" providerId="ADAL" clId="{C6D4F506-5911-4DE7-B986-0013CD5AFD26}" dt="2024-05-23T11:43:40.643" v="1226" actId="14100"/>
          <ac:graphicFrameMkLst>
            <pc:docMk/>
            <pc:sldMk cId="2127289387" sldId="2145707046"/>
            <ac:graphicFrameMk id="6" creationId="{8DEDEB54-83B3-4009-9BA2-A526068C310D}"/>
          </ac:graphicFrameMkLst>
        </pc:graphicFrameChg>
        <pc:graphicFrameChg chg="mod">
          <ac:chgData name="Nitish Kumar" userId="dd67aa8a-8cf6-4186-8ec6-f4690f9005b2" providerId="ADAL" clId="{C6D4F506-5911-4DE7-B986-0013CD5AFD26}" dt="2024-05-23T13:21:37.438" v="4376" actId="1076"/>
          <ac:graphicFrameMkLst>
            <pc:docMk/>
            <pc:sldMk cId="2127289387" sldId="2145707046"/>
            <ac:graphicFrameMk id="8" creationId="{A8FC3F04-DABC-15EC-8E3E-C2B49B99CCFB}"/>
          </ac:graphicFrameMkLst>
        </pc:graphicFrameChg>
        <pc:cxnChg chg="add mod">
          <ac:chgData name="Nitish Kumar" userId="dd67aa8a-8cf6-4186-8ec6-f4690f9005b2" providerId="ADAL" clId="{C6D4F506-5911-4DE7-B986-0013CD5AFD26}" dt="2024-05-23T11:54:33.957" v="1453" actId="1582"/>
          <ac:cxnSpMkLst>
            <pc:docMk/>
            <pc:sldMk cId="2127289387" sldId="2145707046"/>
            <ac:cxnSpMk id="4" creationId="{D9DB9596-C854-37E6-4754-2F46942AF07A}"/>
          </ac:cxnSpMkLst>
        </pc:cxnChg>
        <pc:cxnChg chg="mod">
          <ac:chgData name="Nitish Kumar" userId="dd67aa8a-8cf6-4186-8ec6-f4690f9005b2" providerId="ADAL" clId="{C6D4F506-5911-4DE7-B986-0013CD5AFD26}" dt="2024-05-23T11:40:11.853" v="1218" actId="478"/>
          <ac:cxnSpMkLst>
            <pc:docMk/>
            <pc:sldMk cId="2127289387" sldId="2145707046"/>
            <ac:cxnSpMk id="30" creationId="{F12D42A0-F1FB-99B0-187A-E139D7735AE3}"/>
          </ac:cxnSpMkLst>
        </pc:cxnChg>
      </pc:sldChg>
      <pc:sldChg chg="del">
        <pc:chgData name="Nitish Kumar" userId="dd67aa8a-8cf6-4186-8ec6-f4690f9005b2" providerId="ADAL" clId="{C6D4F506-5911-4DE7-B986-0013CD5AFD26}" dt="2024-05-23T12:59:51.162" v="4221" actId="47"/>
        <pc:sldMkLst>
          <pc:docMk/>
          <pc:sldMk cId="3327061563" sldId="2145707047"/>
        </pc:sldMkLst>
      </pc:sldChg>
      <pc:sldChg chg="del">
        <pc:chgData name="Nitish Kumar" userId="dd67aa8a-8cf6-4186-8ec6-f4690f9005b2" providerId="ADAL" clId="{C6D4F506-5911-4DE7-B986-0013CD5AFD26}" dt="2024-05-23T12:59:52.297" v="4222" actId="47"/>
        <pc:sldMkLst>
          <pc:docMk/>
          <pc:sldMk cId="1996727854" sldId="2145707048"/>
        </pc:sldMkLst>
      </pc:sldChg>
      <pc:sldChg chg="addSp modSp mod ord">
        <pc:chgData name="Nitish Kumar" userId="dd67aa8a-8cf6-4186-8ec6-f4690f9005b2" providerId="ADAL" clId="{C6D4F506-5911-4DE7-B986-0013CD5AFD26}" dt="2024-05-23T13:38:14.254" v="4382"/>
        <pc:sldMkLst>
          <pc:docMk/>
          <pc:sldMk cId="2589311590" sldId="2145707049"/>
        </pc:sldMkLst>
        <pc:spChg chg="add mod">
          <ac:chgData name="Nitish Kumar" userId="dd67aa8a-8cf6-4186-8ec6-f4690f9005b2" providerId="ADAL" clId="{C6D4F506-5911-4DE7-B986-0013CD5AFD26}" dt="2024-05-23T10:36:34.577" v="850" actId="20577"/>
          <ac:spMkLst>
            <pc:docMk/>
            <pc:sldMk cId="2589311590" sldId="2145707049"/>
            <ac:spMk id="2" creationId="{ECC63632-95F6-778B-B5F3-2146E424E002}"/>
          </ac:spMkLst>
        </pc:spChg>
        <pc:spChg chg="add mod">
          <ac:chgData name="Nitish Kumar" userId="dd67aa8a-8cf6-4186-8ec6-f4690f9005b2" providerId="ADAL" clId="{C6D4F506-5911-4DE7-B986-0013CD5AFD26}" dt="2024-05-23T10:35:53.007" v="768" actId="1076"/>
          <ac:spMkLst>
            <pc:docMk/>
            <pc:sldMk cId="2589311590" sldId="2145707049"/>
            <ac:spMk id="4" creationId="{83C031D3-989A-F8C7-50A9-44BBDD0E4649}"/>
          </ac:spMkLst>
        </pc:spChg>
        <pc:spChg chg="mod">
          <ac:chgData name="Nitish Kumar" userId="dd67aa8a-8cf6-4186-8ec6-f4690f9005b2" providerId="ADAL" clId="{C6D4F506-5911-4DE7-B986-0013CD5AFD26}" dt="2024-05-23T11:55:03.989" v="1454" actId="207"/>
          <ac:spMkLst>
            <pc:docMk/>
            <pc:sldMk cId="2589311590" sldId="2145707049"/>
            <ac:spMk id="14" creationId="{09444D7D-D5AC-BECE-C406-6486C5BC5752}"/>
          </ac:spMkLst>
        </pc:spChg>
      </pc:sldChg>
      <pc:sldChg chg="del">
        <pc:chgData name="Nitish Kumar" userId="dd67aa8a-8cf6-4186-8ec6-f4690f9005b2" providerId="ADAL" clId="{C6D4F506-5911-4DE7-B986-0013CD5AFD26}" dt="2024-05-23T12:59:53.588" v="4223" actId="47"/>
        <pc:sldMkLst>
          <pc:docMk/>
          <pc:sldMk cId="3044573983" sldId="2145707050"/>
        </pc:sldMkLst>
      </pc:sldChg>
      <pc:sldChg chg="addSp delSp modSp del">
        <pc:chgData name="Nitish Kumar" userId="dd67aa8a-8cf6-4186-8ec6-f4690f9005b2" providerId="ADAL" clId="{C6D4F506-5911-4DE7-B986-0013CD5AFD26}" dt="2024-05-23T08:07:43.411" v="8" actId="47"/>
        <pc:sldMkLst>
          <pc:docMk/>
          <pc:sldMk cId="2087775098" sldId="2145707051"/>
        </pc:sldMkLst>
        <pc:spChg chg="add del mod">
          <ac:chgData name="Nitish Kumar" userId="dd67aa8a-8cf6-4186-8ec6-f4690f9005b2" providerId="ADAL" clId="{C6D4F506-5911-4DE7-B986-0013CD5AFD26}" dt="2024-05-23T08:06:29.133" v="2"/>
          <ac:spMkLst>
            <pc:docMk/>
            <pc:sldMk cId="2087775098" sldId="2145707051"/>
            <ac:spMk id="2" creationId="{9D0E3A0F-23D4-7D28-D1BF-0D2B5EC4A34B}"/>
          </ac:spMkLst>
        </pc:spChg>
        <pc:spChg chg="add del mod">
          <ac:chgData name="Nitish Kumar" userId="dd67aa8a-8cf6-4186-8ec6-f4690f9005b2" providerId="ADAL" clId="{C6D4F506-5911-4DE7-B986-0013CD5AFD26}" dt="2024-05-23T08:06:29.133" v="2"/>
          <ac:spMkLst>
            <pc:docMk/>
            <pc:sldMk cId="2087775098" sldId="2145707051"/>
            <ac:spMk id="3" creationId="{C600E4C2-C5FB-ABA3-8192-7EAB99F19D53}"/>
          </ac:spMkLst>
        </pc:spChg>
        <pc:spChg chg="add del mod">
          <ac:chgData name="Nitish Kumar" userId="dd67aa8a-8cf6-4186-8ec6-f4690f9005b2" providerId="ADAL" clId="{C6D4F506-5911-4DE7-B986-0013CD5AFD26}" dt="2024-05-23T08:06:29.133" v="2"/>
          <ac:spMkLst>
            <pc:docMk/>
            <pc:sldMk cId="2087775098" sldId="2145707051"/>
            <ac:spMk id="6" creationId="{F27269B7-8950-12E4-C3F7-0D5262E100F5}"/>
          </ac:spMkLst>
        </pc:spChg>
        <pc:cxnChg chg="add del mod">
          <ac:chgData name="Nitish Kumar" userId="dd67aa8a-8cf6-4186-8ec6-f4690f9005b2" providerId="ADAL" clId="{C6D4F506-5911-4DE7-B986-0013CD5AFD26}" dt="2024-05-23T08:06:29.133" v="2"/>
          <ac:cxnSpMkLst>
            <pc:docMk/>
            <pc:sldMk cId="2087775098" sldId="2145707051"/>
            <ac:cxnSpMk id="4" creationId="{B7EE53FE-3604-1F5A-1513-DEFE921402E2}"/>
          </ac:cxnSpMkLst>
        </pc:cxnChg>
        <pc:cxnChg chg="add del mod">
          <ac:chgData name="Nitish Kumar" userId="dd67aa8a-8cf6-4186-8ec6-f4690f9005b2" providerId="ADAL" clId="{C6D4F506-5911-4DE7-B986-0013CD5AFD26}" dt="2024-05-23T08:06:29.133" v="2"/>
          <ac:cxnSpMkLst>
            <pc:docMk/>
            <pc:sldMk cId="2087775098" sldId="2145707051"/>
            <ac:cxnSpMk id="5" creationId="{9D42C53F-4F1C-F05B-7FE8-C108B61D63C5}"/>
          </ac:cxnSpMkLst>
        </pc:cxnChg>
        <pc:cxnChg chg="add del mod">
          <ac:chgData name="Nitish Kumar" userId="dd67aa8a-8cf6-4186-8ec6-f4690f9005b2" providerId="ADAL" clId="{C6D4F506-5911-4DE7-B986-0013CD5AFD26}" dt="2024-05-23T08:06:29.133" v="2"/>
          <ac:cxnSpMkLst>
            <pc:docMk/>
            <pc:sldMk cId="2087775098" sldId="2145707051"/>
            <ac:cxnSpMk id="7" creationId="{F352EDC8-22DE-F3A6-F678-4CE0488995C0}"/>
          </ac:cxnSpMkLst>
        </pc:cxnChg>
      </pc:sldChg>
      <pc:sldChg chg="del">
        <pc:chgData name="Nitish Kumar" userId="dd67aa8a-8cf6-4186-8ec6-f4690f9005b2" providerId="ADAL" clId="{C6D4F506-5911-4DE7-B986-0013CD5AFD26}" dt="2024-05-23T08:22:25.011" v="48" actId="47"/>
        <pc:sldMkLst>
          <pc:docMk/>
          <pc:sldMk cId="3212770207" sldId="2145707053"/>
        </pc:sldMkLst>
      </pc:sldChg>
      <pc:sldChg chg="addSp delSp modSp del mod">
        <pc:chgData name="Nitish Kumar" userId="dd67aa8a-8cf6-4186-8ec6-f4690f9005b2" providerId="ADAL" clId="{C6D4F506-5911-4DE7-B986-0013CD5AFD26}" dt="2024-05-23T08:11:58.278" v="10" actId="47"/>
        <pc:sldMkLst>
          <pc:docMk/>
          <pc:sldMk cId="2216709698" sldId="2145707054"/>
        </pc:sldMkLst>
        <pc:spChg chg="add del mod">
          <ac:chgData name="Nitish Kumar" userId="dd67aa8a-8cf6-4186-8ec6-f4690f9005b2" providerId="ADAL" clId="{C6D4F506-5911-4DE7-B986-0013CD5AFD26}" dt="2024-05-23T08:08:03.253" v="9" actId="478"/>
          <ac:spMkLst>
            <pc:docMk/>
            <pc:sldMk cId="2216709698" sldId="2145707054"/>
            <ac:spMk id="2" creationId="{D3E39AD4-23B3-6462-E515-BFFAD4B4E107}"/>
          </ac:spMkLst>
        </pc:spChg>
        <pc:spChg chg="add del mod">
          <ac:chgData name="Nitish Kumar" userId="dd67aa8a-8cf6-4186-8ec6-f4690f9005b2" providerId="ADAL" clId="{C6D4F506-5911-4DE7-B986-0013CD5AFD26}" dt="2024-05-23T08:08:03.253" v="9" actId="478"/>
          <ac:spMkLst>
            <pc:docMk/>
            <pc:sldMk cId="2216709698" sldId="2145707054"/>
            <ac:spMk id="3" creationId="{49C2CA0B-8185-90CE-6BEA-BDB1DC62DFCB}"/>
          </ac:spMkLst>
        </pc:spChg>
        <pc:spChg chg="add del mod">
          <ac:chgData name="Nitish Kumar" userId="dd67aa8a-8cf6-4186-8ec6-f4690f9005b2" providerId="ADAL" clId="{C6D4F506-5911-4DE7-B986-0013CD5AFD26}" dt="2024-05-23T08:08:03.253" v="9" actId="478"/>
          <ac:spMkLst>
            <pc:docMk/>
            <pc:sldMk cId="2216709698" sldId="2145707054"/>
            <ac:spMk id="6" creationId="{D40CBB9E-D7C7-C874-7B78-97F4BF1E5FF1}"/>
          </ac:spMkLst>
        </pc:spChg>
        <pc:cxnChg chg="add del mod">
          <ac:chgData name="Nitish Kumar" userId="dd67aa8a-8cf6-4186-8ec6-f4690f9005b2" providerId="ADAL" clId="{C6D4F506-5911-4DE7-B986-0013CD5AFD26}" dt="2024-05-23T08:08:03.253" v="9" actId="478"/>
          <ac:cxnSpMkLst>
            <pc:docMk/>
            <pc:sldMk cId="2216709698" sldId="2145707054"/>
            <ac:cxnSpMk id="4" creationId="{EACA0D81-6378-A4C3-7BEC-9CB79113BC8A}"/>
          </ac:cxnSpMkLst>
        </pc:cxnChg>
        <pc:cxnChg chg="add del mod">
          <ac:chgData name="Nitish Kumar" userId="dd67aa8a-8cf6-4186-8ec6-f4690f9005b2" providerId="ADAL" clId="{C6D4F506-5911-4DE7-B986-0013CD5AFD26}" dt="2024-05-23T08:08:03.253" v="9" actId="478"/>
          <ac:cxnSpMkLst>
            <pc:docMk/>
            <pc:sldMk cId="2216709698" sldId="2145707054"/>
            <ac:cxnSpMk id="5" creationId="{9BCCFE65-E88E-3CAF-E715-FF47AC6225F6}"/>
          </ac:cxnSpMkLst>
        </pc:cxnChg>
        <pc:cxnChg chg="add del mod">
          <ac:chgData name="Nitish Kumar" userId="dd67aa8a-8cf6-4186-8ec6-f4690f9005b2" providerId="ADAL" clId="{C6D4F506-5911-4DE7-B986-0013CD5AFD26}" dt="2024-05-23T08:08:03.253" v="9" actId="478"/>
          <ac:cxnSpMkLst>
            <pc:docMk/>
            <pc:sldMk cId="2216709698" sldId="2145707054"/>
            <ac:cxnSpMk id="7" creationId="{83934A18-BD4C-FD6F-006D-27BF53AA96D7}"/>
          </ac:cxnSpMkLst>
        </pc:cxnChg>
      </pc:sldChg>
      <pc:sldChg chg="del">
        <pc:chgData name="Nitish Kumar" userId="dd67aa8a-8cf6-4186-8ec6-f4690f9005b2" providerId="ADAL" clId="{C6D4F506-5911-4DE7-B986-0013CD5AFD26}" dt="2024-05-23T08:22:25.970" v="49" actId="47"/>
        <pc:sldMkLst>
          <pc:docMk/>
          <pc:sldMk cId="1312825514" sldId="2145707055"/>
        </pc:sldMkLst>
      </pc:sldChg>
      <pc:sldChg chg="addSp delSp modSp mod ord">
        <pc:chgData name="Nitish Kumar" userId="dd67aa8a-8cf6-4186-8ec6-f4690f9005b2" providerId="ADAL" clId="{C6D4F506-5911-4DE7-B986-0013CD5AFD26}" dt="2024-05-23T12:19:01.498" v="2097" actId="14100"/>
        <pc:sldMkLst>
          <pc:docMk/>
          <pc:sldMk cId="4000954023" sldId="2145707056"/>
        </pc:sldMkLst>
        <pc:spChg chg="add del mod">
          <ac:chgData name="Nitish Kumar" userId="dd67aa8a-8cf6-4186-8ec6-f4690f9005b2" providerId="ADAL" clId="{C6D4F506-5911-4DE7-B986-0013CD5AFD26}" dt="2024-05-23T12:08:49.967" v="1951" actId="478"/>
          <ac:spMkLst>
            <pc:docMk/>
            <pc:sldMk cId="4000954023" sldId="2145707056"/>
            <ac:spMk id="2" creationId="{F0907591-B916-BACA-0DA2-19FC69144DB7}"/>
          </ac:spMkLst>
        </pc:spChg>
        <pc:spChg chg="add mod">
          <ac:chgData name="Nitish Kumar" userId="dd67aa8a-8cf6-4186-8ec6-f4690f9005b2" providerId="ADAL" clId="{C6D4F506-5911-4DE7-B986-0013CD5AFD26}" dt="2024-05-23T12:17:23.963" v="2079" actId="1076"/>
          <ac:spMkLst>
            <pc:docMk/>
            <pc:sldMk cId="4000954023" sldId="2145707056"/>
            <ac:spMk id="3" creationId="{EE02FB75-FB7E-82F2-144E-44040814B3B7}"/>
          </ac:spMkLst>
        </pc:spChg>
        <pc:spChg chg="add mod">
          <ac:chgData name="Nitish Kumar" userId="dd67aa8a-8cf6-4186-8ec6-f4690f9005b2" providerId="ADAL" clId="{C6D4F506-5911-4DE7-B986-0013CD5AFD26}" dt="2024-05-23T12:17:28.019" v="2080" actId="1076"/>
          <ac:spMkLst>
            <pc:docMk/>
            <pc:sldMk cId="4000954023" sldId="2145707056"/>
            <ac:spMk id="4" creationId="{8DED5B6E-D1BC-0FED-FE26-4F4E1CDD7D67}"/>
          </ac:spMkLst>
        </pc:spChg>
        <pc:spChg chg="add del mod">
          <ac:chgData name="Nitish Kumar" userId="dd67aa8a-8cf6-4186-8ec6-f4690f9005b2" providerId="ADAL" clId="{C6D4F506-5911-4DE7-B986-0013CD5AFD26}" dt="2024-05-23T12:11:45.096" v="1967" actId="478"/>
          <ac:spMkLst>
            <pc:docMk/>
            <pc:sldMk cId="4000954023" sldId="2145707056"/>
            <ac:spMk id="11" creationId="{2C7B8234-3976-FDE8-5EB4-641CBA9AEB01}"/>
          </ac:spMkLst>
        </pc:spChg>
        <pc:spChg chg="add mod">
          <ac:chgData name="Nitish Kumar" userId="dd67aa8a-8cf6-4186-8ec6-f4690f9005b2" providerId="ADAL" clId="{C6D4F506-5911-4DE7-B986-0013CD5AFD26}" dt="2024-05-23T12:18:08.747" v="2096" actId="20577"/>
          <ac:spMkLst>
            <pc:docMk/>
            <pc:sldMk cId="4000954023" sldId="2145707056"/>
            <ac:spMk id="12" creationId="{1E98432A-1818-1014-0315-A805071F1BA9}"/>
          </ac:spMkLst>
        </pc:spChg>
        <pc:spChg chg="add del mod">
          <ac:chgData name="Nitish Kumar" userId="dd67aa8a-8cf6-4186-8ec6-f4690f9005b2" providerId="ADAL" clId="{C6D4F506-5911-4DE7-B986-0013CD5AFD26}" dt="2024-05-23T12:15:08.683" v="2051" actId="478"/>
          <ac:spMkLst>
            <pc:docMk/>
            <pc:sldMk cId="4000954023" sldId="2145707056"/>
            <ac:spMk id="14" creationId="{7316BAE6-4358-E89E-507C-FA14BDBC2C1A}"/>
          </ac:spMkLst>
        </pc:spChg>
        <pc:spChg chg="add mod">
          <ac:chgData name="Nitish Kumar" userId="dd67aa8a-8cf6-4186-8ec6-f4690f9005b2" providerId="ADAL" clId="{C6D4F506-5911-4DE7-B986-0013CD5AFD26}" dt="2024-05-23T12:15:38.295" v="2058" actId="14100"/>
          <ac:spMkLst>
            <pc:docMk/>
            <pc:sldMk cId="4000954023" sldId="2145707056"/>
            <ac:spMk id="15" creationId="{F906DFC7-1AF0-75CE-738E-9BEFF6017089}"/>
          </ac:spMkLst>
        </pc:spChg>
        <pc:spChg chg="mod">
          <ac:chgData name="Nitish Kumar" userId="dd67aa8a-8cf6-4186-8ec6-f4690f9005b2" providerId="ADAL" clId="{C6D4F506-5911-4DE7-B986-0013CD5AFD26}" dt="2024-05-23T12:06:42.346" v="1887" actId="20577"/>
          <ac:spMkLst>
            <pc:docMk/>
            <pc:sldMk cId="4000954023" sldId="2145707056"/>
            <ac:spMk id="16" creationId="{DF882369-D114-E9AC-55B0-C8D3EED85E9A}"/>
          </ac:spMkLst>
        </pc:spChg>
        <pc:spChg chg="add mod">
          <ac:chgData name="Nitish Kumar" userId="dd67aa8a-8cf6-4186-8ec6-f4690f9005b2" providerId="ADAL" clId="{C6D4F506-5911-4DE7-B986-0013CD5AFD26}" dt="2024-05-23T12:15:55.467" v="2062" actId="1076"/>
          <ac:spMkLst>
            <pc:docMk/>
            <pc:sldMk cId="4000954023" sldId="2145707056"/>
            <ac:spMk id="17" creationId="{8170743B-983C-BDF4-1557-167525D9B4E5}"/>
          </ac:spMkLst>
        </pc:spChg>
        <pc:spChg chg="mod">
          <ac:chgData name="Nitish Kumar" userId="dd67aa8a-8cf6-4186-8ec6-f4690f9005b2" providerId="ADAL" clId="{C6D4F506-5911-4DE7-B986-0013CD5AFD26}" dt="2024-05-23T12:13:07.789" v="2038" actId="207"/>
          <ac:spMkLst>
            <pc:docMk/>
            <pc:sldMk cId="4000954023" sldId="2145707056"/>
            <ac:spMk id="18" creationId="{1854BBCE-91B1-05B5-B420-B2F9B7BA1C68}"/>
          </ac:spMkLst>
        </pc:spChg>
        <pc:spChg chg="mod">
          <ac:chgData name="Nitish Kumar" userId="dd67aa8a-8cf6-4186-8ec6-f4690f9005b2" providerId="ADAL" clId="{C6D4F506-5911-4DE7-B986-0013CD5AFD26}" dt="2024-05-23T12:17:15.073" v="2076" actId="1076"/>
          <ac:spMkLst>
            <pc:docMk/>
            <pc:sldMk cId="4000954023" sldId="2145707056"/>
            <ac:spMk id="28" creationId="{41D62A14-84E0-22D3-8CCC-93B24EF2735E}"/>
          </ac:spMkLst>
        </pc:spChg>
        <pc:spChg chg="mod">
          <ac:chgData name="Nitish Kumar" userId="dd67aa8a-8cf6-4186-8ec6-f4690f9005b2" providerId="ADAL" clId="{C6D4F506-5911-4DE7-B986-0013CD5AFD26}" dt="2024-05-23T12:17:19.366" v="2077" actId="1076"/>
          <ac:spMkLst>
            <pc:docMk/>
            <pc:sldMk cId="4000954023" sldId="2145707056"/>
            <ac:spMk id="29" creationId="{8E76EA83-F5F5-767F-4AD3-16FC4B42A1E5}"/>
          </ac:spMkLst>
        </pc:spChg>
        <pc:spChg chg="mod">
          <ac:chgData name="Nitish Kumar" userId="dd67aa8a-8cf6-4186-8ec6-f4690f9005b2" providerId="ADAL" clId="{C6D4F506-5911-4DE7-B986-0013CD5AFD26}" dt="2024-05-23T12:09:56.590" v="1954" actId="1076"/>
          <ac:spMkLst>
            <pc:docMk/>
            <pc:sldMk cId="4000954023" sldId="2145707056"/>
            <ac:spMk id="32" creationId="{B519F474-AF8B-8DF3-7B1D-992AE94A7B2E}"/>
          </ac:spMkLst>
        </pc:spChg>
        <pc:spChg chg="mod">
          <ac:chgData name="Nitish Kumar" userId="dd67aa8a-8cf6-4186-8ec6-f4690f9005b2" providerId="ADAL" clId="{C6D4F506-5911-4DE7-B986-0013CD5AFD26}" dt="2024-05-23T12:09:56.590" v="1954" actId="1076"/>
          <ac:spMkLst>
            <pc:docMk/>
            <pc:sldMk cId="4000954023" sldId="2145707056"/>
            <ac:spMk id="35" creationId="{8F7EC2C7-D10B-FCD7-9831-2EE09FFEC482}"/>
          </ac:spMkLst>
        </pc:spChg>
        <pc:graphicFrameChg chg="mod">
          <ac:chgData name="Nitish Kumar" userId="dd67aa8a-8cf6-4186-8ec6-f4690f9005b2" providerId="ADAL" clId="{C6D4F506-5911-4DE7-B986-0013CD5AFD26}" dt="2024-05-23T12:15:45.383" v="2061" actId="1076"/>
          <ac:graphicFrameMkLst>
            <pc:docMk/>
            <pc:sldMk cId="4000954023" sldId="2145707056"/>
            <ac:graphicFrameMk id="13" creationId="{06B0AEB5-71CE-FC8A-E9EB-E4DB483BE82C}"/>
          </ac:graphicFrameMkLst>
        </pc:graphicFrameChg>
        <pc:cxnChg chg="mod">
          <ac:chgData name="Nitish Kumar" userId="dd67aa8a-8cf6-4186-8ec6-f4690f9005b2" providerId="ADAL" clId="{C6D4F506-5911-4DE7-B986-0013CD5AFD26}" dt="2024-05-23T12:17:38.824" v="2081" actId="14100"/>
          <ac:cxnSpMkLst>
            <pc:docMk/>
            <pc:sldMk cId="4000954023" sldId="2145707056"/>
            <ac:cxnSpMk id="20" creationId="{7EF64107-E573-9836-4FF3-C92A55818458}"/>
          </ac:cxnSpMkLst>
        </pc:cxnChg>
        <pc:cxnChg chg="add mod">
          <ac:chgData name="Nitish Kumar" userId="dd67aa8a-8cf6-4186-8ec6-f4690f9005b2" providerId="ADAL" clId="{C6D4F506-5911-4DE7-B986-0013CD5AFD26}" dt="2024-05-23T12:16:51.173" v="2074" actId="14100"/>
          <ac:cxnSpMkLst>
            <pc:docMk/>
            <pc:sldMk cId="4000954023" sldId="2145707056"/>
            <ac:cxnSpMk id="21" creationId="{0FB7D863-4BC8-3548-223C-BAC9FD1307BA}"/>
          </ac:cxnSpMkLst>
        </pc:cxnChg>
        <pc:cxnChg chg="add mod">
          <ac:chgData name="Nitish Kumar" userId="dd67aa8a-8cf6-4186-8ec6-f4690f9005b2" providerId="ADAL" clId="{C6D4F506-5911-4DE7-B986-0013CD5AFD26}" dt="2024-05-23T12:16:35.321" v="2070" actId="13822"/>
          <ac:cxnSpMkLst>
            <pc:docMk/>
            <pc:sldMk cId="4000954023" sldId="2145707056"/>
            <ac:cxnSpMk id="22" creationId="{BB954D58-5902-789A-4B9E-96CDE87E060C}"/>
          </ac:cxnSpMkLst>
        </pc:cxnChg>
        <pc:cxnChg chg="mod">
          <ac:chgData name="Nitish Kumar" userId="dd67aa8a-8cf6-4186-8ec6-f4690f9005b2" providerId="ADAL" clId="{C6D4F506-5911-4DE7-B986-0013CD5AFD26}" dt="2024-05-23T12:17:50.305" v="2082" actId="14100"/>
          <ac:cxnSpMkLst>
            <pc:docMk/>
            <pc:sldMk cId="4000954023" sldId="2145707056"/>
            <ac:cxnSpMk id="25" creationId="{22F07642-4464-C226-2DC2-5C5E6C8B09BE}"/>
          </ac:cxnSpMkLst>
        </pc:cxnChg>
        <pc:cxnChg chg="mod">
          <ac:chgData name="Nitish Kumar" userId="dd67aa8a-8cf6-4186-8ec6-f4690f9005b2" providerId="ADAL" clId="{C6D4F506-5911-4DE7-B986-0013CD5AFD26}" dt="2024-05-23T12:19:01.498" v="2097" actId="14100"/>
          <ac:cxnSpMkLst>
            <pc:docMk/>
            <pc:sldMk cId="4000954023" sldId="2145707056"/>
            <ac:cxnSpMk id="30" creationId="{F12D42A0-F1FB-99B0-187A-E139D7735AE3}"/>
          </ac:cxnSpMkLst>
        </pc:cxnChg>
        <pc:cxnChg chg="mod">
          <ac:chgData name="Nitish Kumar" userId="dd67aa8a-8cf6-4186-8ec6-f4690f9005b2" providerId="ADAL" clId="{C6D4F506-5911-4DE7-B986-0013CD5AFD26}" dt="2024-05-23T12:11:19.965" v="1965" actId="14100"/>
          <ac:cxnSpMkLst>
            <pc:docMk/>
            <pc:sldMk cId="4000954023" sldId="2145707056"/>
            <ac:cxnSpMk id="31" creationId="{A92ADFAA-A004-863E-3427-F737F4E44118}"/>
          </ac:cxnSpMkLst>
        </pc:cxnChg>
      </pc:sldChg>
      <pc:sldChg chg="delSp new add del mod">
        <pc:chgData name="Nitish Kumar" userId="dd67aa8a-8cf6-4186-8ec6-f4690f9005b2" providerId="ADAL" clId="{C6D4F506-5911-4DE7-B986-0013CD5AFD26}" dt="2024-05-23T08:07:38.496" v="7" actId="47"/>
        <pc:sldMkLst>
          <pc:docMk/>
          <pc:sldMk cId="2401441819" sldId="2145707057"/>
        </pc:sldMkLst>
        <pc:spChg chg="del">
          <ac:chgData name="Nitish Kumar" userId="dd67aa8a-8cf6-4186-8ec6-f4690f9005b2" providerId="ADAL" clId="{C6D4F506-5911-4DE7-B986-0013CD5AFD26}" dt="2024-05-23T08:07:34.186" v="5" actId="478"/>
          <ac:spMkLst>
            <pc:docMk/>
            <pc:sldMk cId="2401441819" sldId="2145707057"/>
            <ac:spMk id="2" creationId="{F68221E2-62DC-9BE3-5366-CBF13DD730E8}"/>
          </ac:spMkLst>
        </pc:spChg>
        <pc:spChg chg="del">
          <ac:chgData name="Nitish Kumar" userId="dd67aa8a-8cf6-4186-8ec6-f4690f9005b2" providerId="ADAL" clId="{C6D4F506-5911-4DE7-B986-0013CD5AFD26}" dt="2024-05-23T08:07:34.186" v="5" actId="478"/>
          <ac:spMkLst>
            <pc:docMk/>
            <pc:sldMk cId="2401441819" sldId="2145707057"/>
            <ac:spMk id="3" creationId="{E2B98B9E-E3D0-8DCA-05B3-3D3B7B2021E6}"/>
          </ac:spMkLst>
        </pc:spChg>
        <pc:spChg chg="del">
          <ac:chgData name="Nitish Kumar" userId="dd67aa8a-8cf6-4186-8ec6-f4690f9005b2" providerId="ADAL" clId="{C6D4F506-5911-4DE7-B986-0013CD5AFD26}" dt="2024-05-23T08:07:34.186" v="5" actId="478"/>
          <ac:spMkLst>
            <pc:docMk/>
            <pc:sldMk cId="2401441819" sldId="2145707057"/>
            <ac:spMk id="4" creationId="{EB71F75D-4A4F-F2FE-F30D-B4612FB6C4EB}"/>
          </ac:spMkLst>
        </pc:spChg>
        <pc:spChg chg="del">
          <ac:chgData name="Nitish Kumar" userId="dd67aa8a-8cf6-4186-8ec6-f4690f9005b2" providerId="ADAL" clId="{C6D4F506-5911-4DE7-B986-0013CD5AFD26}" dt="2024-05-23T08:07:34.186" v="5" actId="478"/>
          <ac:spMkLst>
            <pc:docMk/>
            <pc:sldMk cId="2401441819" sldId="2145707057"/>
            <ac:spMk id="5" creationId="{076F7329-5DEE-1C64-F208-9E52BA8E8DAC}"/>
          </ac:spMkLst>
        </pc:spChg>
        <pc:spChg chg="del">
          <ac:chgData name="Nitish Kumar" userId="dd67aa8a-8cf6-4186-8ec6-f4690f9005b2" providerId="ADAL" clId="{C6D4F506-5911-4DE7-B986-0013CD5AFD26}" dt="2024-05-23T08:07:34.186" v="5" actId="478"/>
          <ac:spMkLst>
            <pc:docMk/>
            <pc:sldMk cId="2401441819" sldId="2145707057"/>
            <ac:spMk id="6" creationId="{41B154E8-F78F-ECAD-F855-09390D2AD6E4}"/>
          </ac:spMkLst>
        </pc:spChg>
        <pc:spChg chg="del">
          <ac:chgData name="Nitish Kumar" userId="dd67aa8a-8cf6-4186-8ec6-f4690f9005b2" providerId="ADAL" clId="{C6D4F506-5911-4DE7-B986-0013CD5AFD26}" dt="2024-05-23T08:07:34.186" v="5" actId="478"/>
          <ac:spMkLst>
            <pc:docMk/>
            <pc:sldMk cId="2401441819" sldId="2145707057"/>
            <ac:spMk id="7" creationId="{BEEF4275-121E-44AF-23B6-B08A3732BC96}"/>
          </ac:spMkLst>
        </pc:spChg>
        <pc:spChg chg="del">
          <ac:chgData name="Nitish Kumar" userId="dd67aa8a-8cf6-4186-8ec6-f4690f9005b2" providerId="ADAL" clId="{C6D4F506-5911-4DE7-B986-0013CD5AFD26}" dt="2024-05-23T08:07:34.186" v="5" actId="478"/>
          <ac:spMkLst>
            <pc:docMk/>
            <pc:sldMk cId="2401441819" sldId="2145707057"/>
            <ac:spMk id="8" creationId="{58754432-F016-07BD-065D-B22C17FF65E8}"/>
          </ac:spMkLst>
        </pc:spChg>
        <pc:spChg chg="del">
          <ac:chgData name="Nitish Kumar" userId="dd67aa8a-8cf6-4186-8ec6-f4690f9005b2" providerId="ADAL" clId="{C6D4F506-5911-4DE7-B986-0013CD5AFD26}" dt="2024-05-23T08:07:34.186" v="5" actId="478"/>
          <ac:spMkLst>
            <pc:docMk/>
            <pc:sldMk cId="2401441819" sldId="2145707057"/>
            <ac:spMk id="9" creationId="{876DF92E-1018-B56D-AB05-12534891E780}"/>
          </ac:spMkLst>
        </pc:spChg>
        <pc:spChg chg="del">
          <ac:chgData name="Nitish Kumar" userId="dd67aa8a-8cf6-4186-8ec6-f4690f9005b2" providerId="ADAL" clId="{C6D4F506-5911-4DE7-B986-0013CD5AFD26}" dt="2024-05-23T08:07:34.186" v="5" actId="478"/>
          <ac:spMkLst>
            <pc:docMk/>
            <pc:sldMk cId="2401441819" sldId="2145707057"/>
            <ac:spMk id="10" creationId="{D623E646-80D6-12B3-053C-EC06FF899C23}"/>
          </ac:spMkLst>
        </pc:spChg>
        <pc:spChg chg="del">
          <ac:chgData name="Nitish Kumar" userId="dd67aa8a-8cf6-4186-8ec6-f4690f9005b2" providerId="ADAL" clId="{C6D4F506-5911-4DE7-B986-0013CD5AFD26}" dt="2024-05-23T08:07:34.186" v="5" actId="478"/>
          <ac:spMkLst>
            <pc:docMk/>
            <pc:sldMk cId="2401441819" sldId="2145707057"/>
            <ac:spMk id="11" creationId="{32053802-6C9C-D954-BCA7-90D9079DD9F2}"/>
          </ac:spMkLst>
        </pc:spChg>
      </pc:sldChg>
      <pc:sldChg chg="add">
        <pc:chgData name="Nitish Kumar" userId="dd67aa8a-8cf6-4186-8ec6-f4690f9005b2" providerId="ADAL" clId="{C6D4F506-5911-4DE7-B986-0013CD5AFD26}" dt="2024-05-23T13:37:37.523" v="4378"/>
        <pc:sldMkLst>
          <pc:docMk/>
          <pc:sldMk cId="1565525845" sldId="2145707058"/>
        </pc:sldMkLst>
      </pc:sldChg>
      <pc:sldChg chg="addSp modSp add del mod">
        <pc:chgData name="Nitish Kumar" userId="dd67aa8a-8cf6-4186-8ec6-f4690f9005b2" providerId="ADAL" clId="{C6D4F506-5911-4DE7-B986-0013CD5AFD26}" dt="2024-05-23T13:37:24.952" v="4377" actId="2696"/>
        <pc:sldMkLst>
          <pc:docMk/>
          <pc:sldMk cId="3447301182" sldId="2145707058"/>
        </pc:sldMkLst>
        <pc:spChg chg="add mod">
          <ac:chgData name="Nitish Kumar" userId="dd67aa8a-8cf6-4186-8ec6-f4690f9005b2" providerId="ADAL" clId="{C6D4F506-5911-4DE7-B986-0013CD5AFD26}" dt="2024-05-23T12:44:57.381" v="3986" actId="20577"/>
          <ac:spMkLst>
            <pc:docMk/>
            <pc:sldMk cId="3447301182" sldId="2145707058"/>
            <ac:spMk id="2" creationId="{C59817FD-C561-4D7E-4927-19201FA272D9}"/>
          </ac:spMkLst>
        </pc:spChg>
        <pc:spChg chg="mod">
          <ac:chgData name="Nitish Kumar" userId="dd67aa8a-8cf6-4186-8ec6-f4690f9005b2" providerId="ADAL" clId="{C6D4F506-5911-4DE7-B986-0013CD5AFD26}" dt="2024-05-23T08:27:46.734" v="101" actId="1076"/>
          <ac:spMkLst>
            <pc:docMk/>
            <pc:sldMk cId="3447301182" sldId="2145707058"/>
            <ac:spMk id="14" creationId="{3E35D42F-2722-3079-3233-D39F66C0C38F}"/>
          </ac:spMkLst>
        </pc:spChg>
        <pc:spChg chg="mod">
          <ac:chgData name="Nitish Kumar" userId="dd67aa8a-8cf6-4186-8ec6-f4690f9005b2" providerId="ADAL" clId="{C6D4F506-5911-4DE7-B986-0013CD5AFD26}" dt="2024-05-23T08:27:56.209" v="103" actId="1076"/>
          <ac:spMkLst>
            <pc:docMk/>
            <pc:sldMk cId="3447301182" sldId="2145707058"/>
            <ac:spMk id="15" creationId="{9B988ED2-EEAE-7412-7122-B78A2DD94269}"/>
          </ac:spMkLst>
        </pc:spChg>
        <pc:spChg chg="mod">
          <ac:chgData name="Nitish Kumar" userId="dd67aa8a-8cf6-4186-8ec6-f4690f9005b2" providerId="ADAL" clId="{C6D4F506-5911-4DE7-B986-0013CD5AFD26}" dt="2024-05-23T13:03:22.038" v="4258" actId="113"/>
          <ac:spMkLst>
            <pc:docMk/>
            <pc:sldMk cId="3447301182" sldId="2145707058"/>
            <ac:spMk id="18" creationId="{58E39D91-817A-7C4E-8E55-5D04D5F5C528}"/>
          </ac:spMkLst>
        </pc:spChg>
        <pc:spChg chg="mod">
          <ac:chgData name="Nitish Kumar" userId="dd67aa8a-8cf6-4186-8ec6-f4690f9005b2" providerId="ADAL" clId="{C6D4F506-5911-4DE7-B986-0013CD5AFD26}" dt="2024-05-23T13:03:24.997" v="4259" actId="113"/>
          <ac:spMkLst>
            <pc:docMk/>
            <pc:sldMk cId="3447301182" sldId="2145707058"/>
            <ac:spMk id="19" creationId="{02CFEF28-C018-72EB-5A14-93DBFB888893}"/>
          </ac:spMkLst>
        </pc:spChg>
        <pc:spChg chg="mod">
          <ac:chgData name="Nitish Kumar" userId="dd67aa8a-8cf6-4186-8ec6-f4690f9005b2" providerId="ADAL" clId="{C6D4F506-5911-4DE7-B986-0013CD5AFD26}" dt="2024-05-23T13:03:17.863" v="4257" actId="113"/>
          <ac:spMkLst>
            <pc:docMk/>
            <pc:sldMk cId="3447301182" sldId="2145707058"/>
            <ac:spMk id="22" creationId="{A26066ED-62C6-5B9D-9339-5A8186EB53CF}"/>
          </ac:spMkLst>
        </pc:spChg>
        <pc:graphicFrameChg chg="mod modGraphic">
          <ac:chgData name="Nitish Kumar" userId="dd67aa8a-8cf6-4186-8ec6-f4690f9005b2" providerId="ADAL" clId="{C6D4F506-5911-4DE7-B986-0013CD5AFD26}" dt="2024-05-23T13:04:12.763" v="4269" actId="403"/>
          <ac:graphicFrameMkLst>
            <pc:docMk/>
            <pc:sldMk cId="3447301182" sldId="2145707058"/>
            <ac:graphicFrameMk id="17" creationId="{209910CC-5C4A-BB84-24E7-85B446934E58}"/>
          </ac:graphicFrameMkLst>
        </pc:graphicFrameChg>
        <pc:cxnChg chg="mod">
          <ac:chgData name="Nitish Kumar" userId="dd67aa8a-8cf6-4186-8ec6-f4690f9005b2" providerId="ADAL" clId="{C6D4F506-5911-4DE7-B986-0013CD5AFD26}" dt="2024-05-23T10:39:36.341" v="909" actId="14100"/>
          <ac:cxnSpMkLst>
            <pc:docMk/>
            <pc:sldMk cId="3447301182" sldId="2145707058"/>
            <ac:cxnSpMk id="20" creationId="{9AD7D23B-8BEA-5971-7940-C461AFD776CD}"/>
          </ac:cxnSpMkLst>
        </pc:cxnChg>
        <pc:cxnChg chg="mod">
          <ac:chgData name="Nitish Kumar" userId="dd67aa8a-8cf6-4186-8ec6-f4690f9005b2" providerId="ADAL" clId="{C6D4F506-5911-4DE7-B986-0013CD5AFD26}" dt="2024-05-23T10:39:40.821" v="910" actId="14100"/>
          <ac:cxnSpMkLst>
            <pc:docMk/>
            <pc:sldMk cId="3447301182" sldId="2145707058"/>
            <ac:cxnSpMk id="21" creationId="{72D1AABC-AA60-53C1-3535-7E2A4EC56432}"/>
          </ac:cxnSpMkLst>
        </pc:cxnChg>
        <pc:cxnChg chg="mod">
          <ac:chgData name="Nitish Kumar" userId="dd67aa8a-8cf6-4186-8ec6-f4690f9005b2" providerId="ADAL" clId="{C6D4F506-5911-4DE7-B986-0013CD5AFD26}" dt="2024-05-23T10:39:32.499" v="908" actId="14100"/>
          <ac:cxnSpMkLst>
            <pc:docMk/>
            <pc:sldMk cId="3447301182" sldId="2145707058"/>
            <ac:cxnSpMk id="23" creationId="{4148701A-3220-509E-5433-ECCBC467DC47}"/>
          </ac:cxnSpMkLst>
        </pc:cxnChg>
      </pc:sldChg>
      <pc:sldChg chg="addSp delSp modSp new add mod">
        <pc:chgData name="Nitish Kumar" userId="dd67aa8a-8cf6-4186-8ec6-f4690f9005b2" providerId="ADAL" clId="{C6D4F506-5911-4DE7-B986-0013CD5AFD26}" dt="2024-05-23T13:05:06.151" v="4272" actId="113"/>
        <pc:sldMkLst>
          <pc:docMk/>
          <pc:sldMk cId="3977088544" sldId="2145707060"/>
        </pc:sldMkLst>
        <pc:spChg chg="del">
          <ac:chgData name="Nitish Kumar" userId="dd67aa8a-8cf6-4186-8ec6-f4690f9005b2" providerId="ADAL" clId="{C6D4F506-5911-4DE7-B986-0013CD5AFD26}" dt="2024-05-23T09:09:32.515" v="106" actId="478"/>
          <ac:spMkLst>
            <pc:docMk/>
            <pc:sldMk cId="3977088544" sldId="2145707060"/>
            <ac:spMk id="2" creationId="{B41E5BE2-5CA4-4842-3BF6-2FCEF1FDB404}"/>
          </ac:spMkLst>
        </pc:spChg>
        <pc:spChg chg="del">
          <ac:chgData name="Nitish Kumar" userId="dd67aa8a-8cf6-4186-8ec6-f4690f9005b2" providerId="ADAL" clId="{C6D4F506-5911-4DE7-B986-0013CD5AFD26}" dt="2024-05-23T09:09:32.515" v="106" actId="478"/>
          <ac:spMkLst>
            <pc:docMk/>
            <pc:sldMk cId="3977088544" sldId="2145707060"/>
            <ac:spMk id="3" creationId="{04D5DB74-3627-17D5-150E-6EA76D07C994}"/>
          </ac:spMkLst>
        </pc:spChg>
        <pc:spChg chg="del">
          <ac:chgData name="Nitish Kumar" userId="dd67aa8a-8cf6-4186-8ec6-f4690f9005b2" providerId="ADAL" clId="{C6D4F506-5911-4DE7-B986-0013CD5AFD26}" dt="2024-05-23T09:09:32.515" v="106" actId="478"/>
          <ac:spMkLst>
            <pc:docMk/>
            <pc:sldMk cId="3977088544" sldId="2145707060"/>
            <ac:spMk id="4" creationId="{792DD876-F9EF-618F-0BA3-42A3ACCF45CF}"/>
          </ac:spMkLst>
        </pc:spChg>
        <pc:spChg chg="del">
          <ac:chgData name="Nitish Kumar" userId="dd67aa8a-8cf6-4186-8ec6-f4690f9005b2" providerId="ADAL" clId="{C6D4F506-5911-4DE7-B986-0013CD5AFD26}" dt="2024-05-23T09:09:32.515" v="106" actId="478"/>
          <ac:spMkLst>
            <pc:docMk/>
            <pc:sldMk cId="3977088544" sldId="2145707060"/>
            <ac:spMk id="5" creationId="{72C93827-A8B7-EA9D-D23A-5E03F07A9361}"/>
          </ac:spMkLst>
        </pc:spChg>
        <pc:spChg chg="del">
          <ac:chgData name="Nitish Kumar" userId="dd67aa8a-8cf6-4186-8ec6-f4690f9005b2" providerId="ADAL" clId="{C6D4F506-5911-4DE7-B986-0013CD5AFD26}" dt="2024-05-23T09:09:32.515" v="106" actId="478"/>
          <ac:spMkLst>
            <pc:docMk/>
            <pc:sldMk cId="3977088544" sldId="2145707060"/>
            <ac:spMk id="6" creationId="{6A4A02ED-100C-D8D7-0FF3-38A63E1E996D}"/>
          </ac:spMkLst>
        </pc:spChg>
        <pc:spChg chg="del">
          <ac:chgData name="Nitish Kumar" userId="dd67aa8a-8cf6-4186-8ec6-f4690f9005b2" providerId="ADAL" clId="{C6D4F506-5911-4DE7-B986-0013CD5AFD26}" dt="2024-05-23T09:09:32.515" v="106" actId="478"/>
          <ac:spMkLst>
            <pc:docMk/>
            <pc:sldMk cId="3977088544" sldId="2145707060"/>
            <ac:spMk id="7" creationId="{1711BA47-C31C-BC66-4C2A-ABE53FF95CE7}"/>
          </ac:spMkLst>
        </pc:spChg>
        <pc:spChg chg="del">
          <ac:chgData name="Nitish Kumar" userId="dd67aa8a-8cf6-4186-8ec6-f4690f9005b2" providerId="ADAL" clId="{C6D4F506-5911-4DE7-B986-0013CD5AFD26}" dt="2024-05-23T09:09:32.515" v="106" actId="478"/>
          <ac:spMkLst>
            <pc:docMk/>
            <pc:sldMk cId="3977088544" sldId="2145707060"/>
            <ac:spMk id="8" creationId="{BC860A87-45FD-A70E-F22C-3D4F58A4035C}"/>
          </ac:spMkLst>
        </pc:spChg>
        <pc:spChg chg="del">
          <ac:chgData name="Nitish Kumar" userId="dd67aa8a-8cf6-4186-8ec6-f4690f9005b2" providerId="ADAL" clId="{C6D4F506-5911-4DE7-B986-0013CD5AFD26}" dt="2024-05-23T09:09:32.515" v="106" actId="478"/>
          <ac:spMkLst>
            <pc:docMk/>
            <pc:sldMk cId="3977088544" sldId="2145707060"/>
            <ac:spMk id="9" creationId="{004F7ED3-F66F-0FA5-DD95-7D8BB88F4383}"/>
          </ac:spMkLst>
        </pc:spChg>
        <pc:spChg chg="del">
          <ac:chgData name="Nitish Kumar" userId="dd67aa8a-8cf6-4186-8ec6-f4690f9005b2" providerId="ADAL" clId="{C6D4F506-5911-4DE7-B986-0013CD5AFD26}" dt="2024-05-23T09:09:32.515" v="106" actId="478"/>
          <ac:spMkLst>
            <pc:docMk/>
            <pc:sldMk cId="3977088544" sldId="2145707060"/>
            <ac:spMk id="10" creationId="{AB066305-2634-C49C-F2BF-7B644E94F8DB}"/>
          </ac:spMkLst>
        </pc:spChg>
        <pc:spChg chg="del">
          <ac:chgData name="Nitish Kumar" userId="dd67aa8a-8cf6-4186-8ec6-f4690f9005b2" providerId="ADAL" clId="{C6D4F506-5911-4DE7-B986-0013CD5AFD26}" dt="2024-05-23T09:09:32.515" v="106" actId="478"/>
          <ac:spMkLst>
            <pc:docMk/>
            <pc:sldMk cId="3977088544" sldId="2145707060"/>
            <ac:spMk id="11" creationId="{9C4EC050-3DB0-958C-EFC2-1EE4D5B05D5D}"/>
          </ac:spMkLst>
        </pc:spChg>
        <pc:spChg chg="add mod">
          <ac:chgData name="Nitish Kumar" userId="dd67aa8a-8cf6-4186-8ec6-f4690f9005b2" providerId="ADAL" clId="{C6D4F506-5911-4DE7-B986-0013CD5AFD26}" dt="2024-05-23T12:59:09.763" v="4220" actId="1076"/>
          <ac:spMkLst>
            <pc:docMk/>
            <pc:sldMk cId="3977088544" sldId="2145707060"/>
            <ac:spMk id="15" creationId="{76D32EBD-CE21-2BF9-80AB-C7FF385E1DA5}"/>
          </ac:spMkLst>
        </pc:spChg>
        <pc:spChg chg="add mod">
          <ac:chgData name="Nitish Kumar" userId="dd67aa8a-8cf6-4186-8ec6-f4690f9005b2" providerId="ADAL" clId="{C6D4F506-5911-4DE7-B986-0013CD5AFD26}" dt="2024-05-23T09:12:09.269" v="124" actId="1076"/>
          <ac:spMkLst>
            <pc:docMk/>
            <pc:sldMk cId="3977088544" sldId="2145707060"/>
            <ac:spMk id="20" creationId="{6941AC54-B405-6A02-6560-6A2E7822C39B}"/>
          </ac:spMkLst>
        </pc:spChg>
        <pc:spChg chg="add mod">
          <ac:chgData name="Nitish Kumar" userId="dd67aa8a-8cf6-4186-8ec6-f4690f9005b2" providerId="ADAL" clId="{C6D4F506-5911-4DE7-B986-0013CD5AFD26}" dt="2024-05-23T12:59:02.321" v="4219" actId="20577"/>
          <ac:spMkLst>
            <pc:docMk/>
            <pc:sldMk cId="3977088544" sldId="2145707060"/>
            <ac:spMk id="21" creationId="{B0DE0D66-2998-A899-665C-7B4AFD0111FE}"/>
          </ac:spMkLst>
        </pc:spChg>
        <pc:graphicFrameChg chg="add mod">
          <ac:chgData name="Nitish Kumar" userId="dd67aa8a-8cf6-4186-8ec6-f4690f9005b2" providerId="ADAL" clId="{C6D4F506-5911-4DE7-B986-0013CD5AFD26}" dt="2024-05-23T09:09:41.614" v="109" actId="14100"/>
          <ac:graphicFrameMkLst>
            <pc:docMk/>
            <pc:sldMk cId="3977088544" sldId="2145707060"/>
            <ac:graphicFrameMk id="12" creationId="{5C04C2A9-B384-F31C-3A94-B0FBB0E8D50D}"/>
          </ac:graphicFrameMkLst>
        </pc:graphicFrameChg>
        <pc:graphicFrameChg chg="add del mod">
          <ac:chgData name="Nitish Kumar" userId="dd67aa8a-8cf6-4186-8ec6-f4690f9005b2" providerId="ADAL" clId="{C6D4F506-5911-4DE7-B986-0013CD5AFD26}" dt="2024-05-23T09:11:01.368" v="111"/>
          <ac:graphicFrameMkLst>
            <pc:docMk/>
            <pc:sldMk cId="3977088544" sldId="2145707060"/>
            <ac:graphicFrameMk id="13" creationId="{A57E6C9B-EF7F-3189-42FA-00A7EF37DE44}"/>
          </ac:graphicFrameMkLst>
        </pc:graphicFrameChg>
        <pc:graphicFrameChg chg="add mod modGraphic">
          <ac:chgData name="Nitish Kumar" userId="dd67aa8a-8cf6-4186-8ec6-f4690f9005b2" providerId="ADAL" clId="{C6D4F506-5911-4DE7-B986-0013CD5AFD26}" dt="2024-05-23T13:05:06.151" v="4272" actId="113"/>
          <ac:graphicFrameMkLst>
            <pc:docMk/>
            <pc:sldMk cId="3977088544" sldId="2145707060"/>
            <ac:graphicFrameMk id="14" creationId="{662E9065-5323-61DD-E073-B20DC0CF11D8}"/>
          </ac:graphicFrameMkLst>
        </pc:graphicFrameChg>
        <pc:cxnChg chg="add mod">
          <ac:chgData name="Nitish Kumar" userId="dd67aa8a-8cf6-4186-8ec6-f4690f9005b2" providerId="ADAL" clId="{C6D4F506-5911-4DE7-B986-0013CD5AFD26}" dt="2024-05-23T09:11:40.975" v="120" actId="14100"/>
          <ac:cxnSpMkLst>
            <pc:docMk/>
            <pc:sldMk cId="3977088544" sldId="2145707060"/>
            <ac:cxnSpMk id="16" creationId="{5A94AEC5-5653-0BEC-1AC3-1C189CAF199E}"/>
          </ac:cxnSpMkLst>
        </pc:cxnChg>
        <pc:cxnChg chg="add mod">
          <ac:chgData name="Nitish Kumar" userId="dd67aa8a-8cf6-4186-8ec6-f4690f9005b2" providerId="ADAL" clId="{C6D4F506-5911-4DE7-B986-0013CD5AFD26}" dt="2024-05-23T09:11:55.974" v="122" actId="1076"/>
          <ac:cxnSpMkLst>
            <pc:docMk/>
            <pc:sldMk cId="3977088544" sldId="2145707060"/>
            <ac:cxnSpMk id="19" creationId="{8585BBD1-AC01-BA8A-F14F-B6D073331A22}"/>
          </ac:cxnSpMkLst>
        </pc:cxnChg>
      </pc:sldChg>
      <pc:sldChg chg="del">
        <pc:chgData name="Nitish Kumar" userId="dd67aa8a-8cf6-4186-8ec6-f4690f9005b2" providerId="ADAL" clId="{C6D4F506-5911-4DE7-B986-0013CD5AFD26}" dt="2024-05-23T11:40:58.209" v="1219" actId="47"/>
        <pc:sldMkLst>
          <pc:docMk/>
          <pc:sldMk cId="2248448192" sldId="2145707061"/>
        </pc:sldMkLst>
      </pc:sldChg>
      <pc:sldChg chg="addSp delSp modSp new add del mod">
        <pc:chgData name="Nitish Kumar" userId="dd67aa8a-8cf6-4186-8ec6-f4690f9005b2" providerId="ADAL" clId="{C6D4F506-5911-4DE7-B986-0013CD5AFD26}" dt="2024-05-23T11:06:05.825" v="911" actId="47"/>
        <pc:sldMkLst>
          <pc:docMk/>
          <pc:sldMk cId="580643223" sldId="2145707062"/>
        </pc:sldMkLst>
        <pc:spChg chg="del">
          <ac:chgData name="Nitish Kumar" userId="dd67aa8a-8cf6-4186-8ec6-f4690f9005b2" providerId="ADAL" clId="{C6D4F506-5911-4DE7-B986-0013CD5AFD26}" dt="2024-05-23T09:38:12.756" v="188" actId="478"/>
          <ac:spMkLst>
            <pc:docMk/>
            <pc:sldMk cId="580643223" sldId="2145707062"/>
            <ac:spMk id="2" creationId="{449B581B-B181-89ED-BB24-A03C37B180FE}"/>
          </ac:spMkLst>
        </pc:spChg>
        <pc:spChg chg="del">
          <ac:chgData name="Nitish Kumar" userId="dd67aa8a-8cf6-4186-8ec6-f4690f9005b2" providerId="ADAL" clId="{C6D4F506-5911-4DE7-B986-0013CD5AFD26}" dt="2024-05-23T09:38:12.756" v="188" actId="478"/>
          <ac:spMkLst>
            <pc:docMk/>
            <pc:sldMk cId="580643223" sldId="2145707062"/>
            <ac:spMk id="3" creationId="{B532499F-AE50-6A22-2B86-761F3095B17A}"/>
          </ac:spMkLst>
        </pc:spChg>
        <pc:spChg chg="del">
          <ac:chgData name="Nitish Kumar" userId="dd67aa8a-8cf6-4186-8ec6-f4690f9005b2" providerId="ADAL" clId="{C6D4F506-5911-4DE7-B986-0013CD5AFD26}" dt="2024-05-23T09:38:12.756" v="188" actId="478"/>
          <ac:spMkLst>
            <pc:docMk/>
            <pc:sldMk cId="580643223" sldId="2145707062"/>
            <ac:spMk id="4" creationId="{964796DF-D9BD-8A08-4F1F-9DCC29A266B0}"/>
          </ac:spMkLst>
        </pc:spChg>
        <pc:spChg chg="del">
          <ac:chgData name="Nitish Kumar" userId="dd67aa8a-8cf6-4186-8ec6-f4690f9005b2" providerId="ADAL" clId="{C6D4F506-5911-4DE7-B986-0013CD5AFD26}" dt="2024-05-23T09:38:12.756" v="188" actId="478"/>
          <ac:spMkLst>
            <pc:docMk/>
            <pc:sldMk cId="580643223" sldId="2145707062"/>
            <ac:spMk id="5" creationId="{685FF3EF-3CEE-0CA9-FDAE-F4AAE16978BB}"/>
          </ac:spMkLst>
        </pc:spChg>
        <pc:spChg chg="del">
          <ac:chgData name="Nitish Kumar" userId="dd67aa8a-8cf6-4186-8ec6-f4690f9005b2" providerId="ADAL" clId="{C6D4F506-5911-4DE7-B986-0013CD5AFD26}" dt="2024-05-23T09:38:12.756" v="188" actId="478"/>
          <ac:spMkLst>
            <pc:docMk/>
            <pc:sldMk cId="580643223" sldId="2145707062"/>
            <ac:spMk id="6" creationId="{0B65F4A2-C695-AE59-8266-B20E3AB806C5}"/>
          </ac:spMkLst>
        </pc:spChg>
        <pc:spChg chg="del">
          <ac:chgData name="Nitish Kumar" userId="dd67aa8a-8cf6-4186-8ec6-f4690f9005b2" providerId="ADAL" clId="{C6D4F506-5911-4DE7-B986-0013CD5AFD26}" dt="2024-05-23T09:38:12.756" v="188" actId="478"/>
          <ac:spMkLst>
            <pc:docMk/>
            <pc:sldMk cId="580643223" sldId="2145707062"/>
            <ac:spMk id="7" creationId="{B7FE0757-19D6-AAD5-1429-1CD4B34B3514}"/>
          </ac:spMkLst>
        </pc:spChg>
        <pc:spChg chg="del">
          <ac:chgData name="Nitish Kumar" userId="dd67aa8a-8cf6-4186-8ec6-f4690f9005b2" providerId="ADAL" clId="{C6D4F506-5911-4DE7-B986-0013CD5AFD26}" dt="2024-05-23T09:38:12.756" v="188" actId="478"/>
          <ac:spMkLst>
            <pc:docMk/>
            <pc:sldMk cId="580643223" sldId="2145707062"/>
            <ac:spMk id="8" creationId="{00121EFB-C705-A34E-85E9-3FC57C861F2C}"/>
          </ac:spMkLst>
        </pc:spChg>
        <pc:spChg chg="del">
          <ac:chgData name="Nitish Kumar" userId="dd67aa8a-8cf6-4186-8ec6-f4690f9005b2" providerId="ADAL" clId="{C6D4F506-5911-4DE7-B986-0013CD5AFD26}" dt="2024-05-23T09:38:12.756" v="188" actId="478"/>
          <ac:spMkLst>
            <pc:docMk/>
            <pc:sldMk cId="580643223" sldId="2145707062"/>
            <ac:spMk id="9" creationId="{686E5070-491F-C365-0CF6-F25DC88E39D1}"/>
          </ac:spMkLst>
        </pc:spChg>
        <pc:spChg chg="del">
          <ac:chgData name="Nitish Kumar" userId="dd67aa8a-8cf6-4186-8ec6-f4690f9005b2" providerId="ADAL" clId="{C6D4F506-5911-4DE7-B986-0013CD5AFD26}" dt="2024-05-23T09:38:12.756" v="188" actId="478"/>
          <ac:spMkLst>
            <pc:docMk/>
            <pc:sldMk cId="580643223" sldId="2145707062"/>
            <ac:spMk id="10" creationId="{A25D6078-1047-CE73-AD75-DFF805434797}"/>
          </ac:spMkLst>
        </pc:spChg>
        <pc:spChg chg="del">
          <ac:chgData name="Nitish Kumar" userId="dd67aa8a-8cf6-4186-8ec6-f4690f9005b2" providerId="ADAL" clId="{C6D4F506-5911-4DE7-B986-0013CD5AFD26}" dt="2024-05-23T09:38:12.756" v="188" actId="478"/>
          <ac:spMkLst>
            <pc:docMk/>
            <pc:sldMk cId="580643223" sldId="2145707062"/>
            <ac:spMk id="11" creationId="{76D6004C-ACA5-03C1-70D2-80B46B95D97E}"/>
          </ac:spMkLst>
        </pc:spChg>
        <pc:spChg chg="add mod">
          <ac:chgData name="Nitish Kumar" userId="dd67aa8a-8cf6-4186-8ec6-f4690f9005b2" providerId="ADAL" clId="{C6D4F506-5911-4DE7-B986-0013CD5AFD26}" dt="2024-05-23T09:40:48.186" v="192"/>
          <ac:spMkLst>
            <pc:docMk/>
            <pc:sldMk cId="580643223" sldId="2145707062"/>
            <ac:spMk id="13" creationId="{300B8317-E596-AC5A-8654-551065A7D9E3}"/>
          </ac:spMkLst>
        </pc:spChg>
        <pc:graphicFrameChg chg="add mod">
          <ac:chgData name="Nitish Kumar" userId="dd67aa8a-8cf6-4186-8ec6-f4690f9005b2" providerId="ADAL" clId="{C6D4F506-5911-4DE7-B986-0013CD5AFD26}" dt="2024-05-23T09:38:22.760" v="191" actId="14100"/>
          <ac:graphicFrameMkLst>
            <pc:docMk/>
            <pc:sldMk cId="580643223" sldId="2145707062"/>
            <ac:graphicFrameMk id="12" creationId="{02ADA294-99B6-0636-9CB7-DF1D6C5B45C2}"/>
          </ac:graphicFrameMkLst>
        </pc:graphicFrameChg>
      </pc:sldChg>
      <pc:sldChg chg="addSp delSp modSp del mod">
        <pc:chgData name="Nitish Kumar" userId="dd67aa8a-8cf6-4186-8ec6-f4690f9005b2" providerId="ADAL" clId="{C6D4F506-5911-4DE7-B986-0013CD5AFD26}" dt="2024-05-23T10:21:27.806" v="295" actId="2696"/>
        <pc:sldMkLst>
          <pc:docMk/>
          <pc:sldMk cId="659066545" sldId="2145707063"/>
        </pc:sldMkLst>
        <pc:spChg chg="add mod">
          <ac:chgData name="Nitish Kumar" userId="dd67aa8a-8cf6-4186-8ec6-f4690f9005b2" providerId="ADAL" clId="{C6D4F506-5911-4DE7-B986-0013CD5AFD26}" dt="2024-05-23T10:19:03.158" v="282" actId="5793"/>
          <ac:spMkLst>
            <pc:docMk/>
            <pc:sldMk cId="659066545" sldId="2145707063"/>
            <ac:spMk id="3" creationId="{8D23C547-E150-9E95-4D66-4B5FBB17A5DE}"/>
          </ac:spMkLst>
        </pc:spChg>
        <pc:spChg chg="add mod">
          <ac:chgData name="Nitish Kumar" userId="dd67aa8a-8cf6-4186-8ec6-f4690f9005b2" providerId="ADAL" clId="{C6D4F506-5911-4DE7-B986-0013CD5AFD26}" dt="2024-05-23T10:05:48.685" v="199"/>
          <ac:spMkLst>
            <pc:docMk/>
            <pc:sldMk cId="659066545" sldId="2145707063"/>
            <ac:spMk id="6" creationId="{CB4B9354-90C2-9E29-6C8C-58BB4317C334}"/>
          </ac:spMkLst>
        </pc:spChg>
        <pc:spChg chg="mod">
          <ac:chgData name="Nitish Kumar" userId="dd67aa8a-8cf6-4186-8ec6-f4690f9005b2" providerId="ADAL" clId="{C6D4F506-5911-4DE7-B986-0013CD5AFD26}" dt="2024-05-23T10:19:20.583" v="283"/>
          <ac:spMkLst>
            <pc:docMk/>
            <pc:sldMk cId="659066545" sldId="2145707063"/>
            <ac:spMk id="16" creationId="{DF882369-D114-E9AC-55B0-C8D3EED85E9A}"/>
          </ac:spMkLst>
        </pc:spChg>
        <pc:grpChg chg="del">
          <ac:chgData name="Nitish Kumar" userId="dd67aa8a-8cf6-4186-8ec6-f4690f9005b2" providerId="ADAL" clId="{C6D4F506-5911-4DE7-B986-0013CD5AFD26}" dt="2024-05-23T10:19:27.901" v="284" actId="478"/>
          <ac:grpSpMkLst>
            <pc:docMk/>
            <pc:sldMk cId="659066545" sldId="2145707063"/>
            <ac:grpSpMk id="5" creationId="{92A6F336-58AC-4A94-72DB-5CFB79ED6F6C}"/>
          </ac:grpSpMkLst>
        </pc:grpChg>
        <pc:picChg chg="mod">
          <ac:chgData name="Nitish Kumar" userId="dd67aa8a-8cf6-4186-8ec6-f4690f9005b2" providerId="ADAL" clId="{C6D4F506-5911-4DE7-B986-0013CD5AFD26}" dt="2024-05-23T10:16:58.792" v="237" actId="14100"/>
          <ac:picMkLst>
            <pc:docMk/>
            <pc:sldMk cId="659066545" sldId="2145707063"/>
            <ac:picMk id="4" creationId="{09E1757B-D1B7-608B-DC9D-BB552411ED16}"/>
          </ac:picMkLst>
        </pc:picChg>
        <pc:picChg chg="mod">
          <ac:chgData name="Nitish Kumar" userId="dd67aa8a-8cf6-4186-8ec6-f4690f9005b2" providerId="ADAL" clId="{C6D4F506-5911-4DE7-B986-0013CD5AFD26}" dt="2024-05-23T10:02:09.004" v="194" actId="1076"/>
          <ac:picMkLst>
            <pc:docMk/>
            <pc:sldMk cId="659066545" sldId="2145707063"/>
            <ac:picMk id="1026" creationId="{B737A533-37EE-94CA-EB80-41F8D0A82BEB}"/>
          </ac:picMkLst>
        </pc:picChg>
        <pc:cxnChg chg="add mod">
          <ac:chgData name="Nitish Kumar" userId="dd67aa8a-8cf6-4186-8ec6-f4690f9005b2" providerId="ADAL" clId="{C6D4F506-5911-4DE7-B986-0013CD5AFD26}" dt="2024-05-23T10:17:14.136" v="241" actId="14100"/>
          <ac:cxnSpMkLst>
            <pc:docMk/>
            <pc:sldMk cId="659066545" sldId="2145707063"/>
            <ac:cxnSpMk id="8" creationId="{61EC690F-37EC-B7CD-BA58-2ACDC2335569}"/>
          </ac:cxnSpMkLst>
        </pc:cxnChg>
        <pc:cxnChg chg="add del mod">
          <ac:chgData name="Nitish Kumar" userId="dd67aa8a-8cf6-4186-8ec6-f4690f9005b2" providerId="ADAL" clId="{C6D4F506-5911-4DE7-B986-0013CD5AFD26}" dt="2024-05-23T10:16:27.965" v="234" actId="478"/>
          <ac:cxnSpMkLst>
            <pc:docMk/>
            <pc:sldMk cId="659066545" sldId="2145707063"/>
            <ac:cxnSpMk id="9" creationId="{9DE0EA50-F2DC-6906-D701-F9F1C2E6D128}"/>
          </ac:cxnSpMkLst>
        </pc:cxnChg>
        <pc:cxnChg chg="add mod">
          <ac:chgData name="Nitish Kumar" userId="dd67aa8a-8cf6-4186-8ec6-f4690f9005b2" providerId="ADAL" clId="{C6D4F506-5911-4DE7-B986-0013CD5AFD26}" dt="2024-05-23T10:17:02.866" v="238" actId="1076"/>
          <ac:cxnSpMkLst>
            <pc:docMk/>
            <pc:sldMk cId="659066545" sldId="2145707063"/>
            <ac:cxnSpMk id="13" creationId="{0662AF41-5727-F2FC-C389-E1DB5B08D602}"/>
          </ac:cxnSpMkLst>
        </pc:cxnChg>
        <pc:cxnChg chg="add mod">
          <ac:chgData name="Nitish Kumar" userId="dd67aa8a-8cf6-4186-8ec6-f4690f9005b2" providerId="ADAL" clId="{C6D4F506-5911-4DE7-B986-0013CD5AFD26}" dt="2024-05-23T10:17:05.203" v="239" actId="1076"/>
          <ac:cxnSpMkLst>
            <pc:docMk/>
            <pc:sldMk cId="659066545" sldId="2145707063"/>
            <ac:cxnSpMk id="15" creationId="{FF6257BC-90DD-855A-892E-194F6AB34992}"/>
          </ac:cxnSpMkLst>
        </pc:cxnChg>
        <pc:cxnChg chg="mod">
          <ac:chgData name="Nitish Kumar" userId="dd67aa8a-8cf6-4186-8ec6-f4690f9005b2" providerId="ADAL" clId="{C6D4F506-5911-4DE7-B986-0013CD5AFD26}" dt="2024-05-23T10:19:27.901" v="284" actId="478"/>
          <ac:cxnSpMkLst>
            <pc:docMk/>
            <pc:sldMk cId="659066545" sldId="2145707063"/>
            <ac:cxnSpMk id="30" creationId="{F12D42A0-F1FB-99B0-187A-E139D7735AE3}"/>
          </ac:cxnSpMkLst>
        </pc:cxnChg>
      </pc:sldChg>
      <pc:sldChg chg="addSp delSp modSp add mod">
        <pc:chgData name="Nitish Kumar" userId="dd67aa8a-8cf6-4186-8ec6-f4690f9005b2" providerId="ADAL" clId="{C6D4F506-5911-4DE7-B986-0013CD5AFD26}" dt="2024-05-23T13:19:24.343" v="4373" actId="20577"/>
        <pc:sldMkLst>
          <pc:docMk/>
          <pc:sldMk cId="1644116528" sldId="2145707063"/>
        </pc:sldMkLst>
        <pc:spChg chg="mod">
          <ac:chgData name="Nitish Kumar" userId="dd67aa8a-8cf6-4186-8ec6-f4690f9005b2" providerId="ADAL" clId="{C6D4F506-5911-4DE7-B986-0013CD5AFD26}" dt="2024-05-23T13:07:54.385" v="4317" actId="20577"/>
          <ac:spMkLst>
            <pc:docMk/>
            <pc:sldMk cId="1644116528" sldId="2145707063"/>
            <ac:spMk id="3" creationId="{8D23C547-E150-9E95-4D66-4B5FBB17A5DE}"/>
          </ac:spMkLst>
        </pc:spChg>
        <pc:spChg chg="add del mod">
          <ac:chgData name="Nitish Kumar" userId="dd67aa8a-8cf6-4186-8ec6-f4690f9005b2" providerId="ADAL" clId="{C6D4F506-5911-4DE7-B986-0013CD5AFD26}" dt="2024-05-23T13:17:28.627" v="4328" actId="478"/>
          <ac:spMkLst>
            <pc:docMk/>
            <pc:sldMk cId="1644116528" sldId="2145707063"/>
            <ac:spMk id="7" creationId="{E7819C6B-1C63-B6DD-CF73-1242D0FC8544}"/>
          </ac:spMkLst>
        </pc:spChg>
        <pc:spChg chg="add mod">
          <ac:chgData name="Nitish Kumar" userId="dd67aa8a-8cf6-4186-8ec6-f4690f9005b2" providerId="ADAL" clId="{C6D4F506-5911-4DE7-B986-0013CD5AFD26}" dt="2024-05-23T13:19:24.343" v="4373" actId="20577"/>
          <ac:spMkLst>
            <pc:docMk/>
            <pc:sldMk cId="1644116528" sldId="2145707063"/>
            <ac:spMk id="9" creationId="{2D9D37D3-E23F-3F9E-E66B-C38611894403}"/>
          </ac:spMkLst>
        </pc:spChg>
        <pc:spChg chg="add mod">
          <ac:chgData name="Nitish Kumar" userId="dd67aa8a-8cf6-4186-8ec6-f4690f9005b2" providerId="ADAL" clId="{C6D4F506-5911-4DE7-B986-0013CD5AFD26}" dt="2024-05-23T10:23:43.474" v="342" actId="20577"/>
          <ac:spMkLst>
            <pc:docMk/>
            <pc:sldMk cId="1644116528" sldId="2145707063"/>
            <ac:spMk id="10" creationId="{EC7A1297-1077-402E-F6CF-6314651A0747}"/>
          </ac:spMkLst>
        </pc:spChg>
        <pc:spChg chg="del">
          <ac:chgData name="Nitish Kumar" userId="dd67aa8a-8cf6-4186-8ec6-f4690f9005b2" providerId="ADAL" clId="{C6D4F506-5911-4DE7-B986-0013CD5AFD26}" dt="2024-05-23T10:23:38.106" v="336" actId="478"/>
          <ac:spMkLst>
            <pc:docMk/>
            <pc:sldMk cId="1644116528" sldId="2145707063"/>
            <ac:spMk id="16" creationId="{DF882369-D114-E9AC-55B0-C8D3EED85E9A}"/>
          </ac:spMkLst>
        </pc:spChg>
        <pc:picChg chg="mod">
          <ac:chgData name="Nitish Kumar" userId="dd67aa8a-8cf6-4186-8ec6-f4690f9005b2" providerId="ADAL" clId="{C6D4F506-5911-4DE7-B986-0013CD5AFD26}" dt="2024-05-23T13:18:57.488" v="4369" actId="1076"/>
          <ac:picMkLst>
            <pc:docMk/>
            <pc:sldMk cId="1644116528" sldId="2145707063"/>
            <ac:picMk id="4" creationId="{09E1757B-D1B7-608B-DC9D-BB552411ED16}"/>
          </ac:picMkLst>
        </pc:picChg>
        <pc:cxnChg chg="mod">
          <ac:chgData name="Nitish Kumar" userId="dd67aa8a-8cf6-4186-8ec6-f4690f9005b2" providerId="ADAL" clId="{C6D4F506-5911-4DE7-B986-0013CD5AFD26}" dt="2024-05-23T11:08:02.305" v="921" actId="1076"/>
          <ac:cxnSpMkLst>
            <pc:docMk/>
            <pc:sldMk cId="1644116528" sldId="2145707063"/>
            <ac:cxnSpMk id="8" creationId="{61EC690F-37EC-B7CD-BA58-2ACDC2335569}"/>
          </ac:cxnSpMkLst>
        </pc:cxnChg>
        <pc:cxnChg chg="mod">
          <ac:chgData name="Nitish Kumar" userId="dd67aa8a-8cf6-4186-8ec6-f4690f9005b2" providerId="ADAL" clId="{C6D4F506-5911-4DE7-B986-0013CD5AFD26}" dt="2024-05-23T13:17:05.273" v="4325" actId="14100"/>
          <ac:cxnSpMkLst>
            <pc:docMk/>
            <pc:sldMk cId="1644116528" sldId="2145707063"/>
            <ac:cxnSpMk id="13" creationId="{0662AF41-5727-F2FC-C389-E1DB5B08D602}"/>
          </ac:cxnSpMkLst>
        </pc:cxnChg>
        <pc:cxnChg chg="mod">
          <ac:chgData name="Nitish Kumar" userId="dd67aa8a-8cf6-4186-8ec6-f4690f9005b2" providerId="ADAL" clId="{C6D4F506-5911-4DE7-B986-0013CD5AFD26}" dt="2024-05-23T13:17:02.480" v="4324" actId="14100"/>
          <ac:cxnSpMkLst>
            <pc:docMk/>
            <pc:sldMk cId="1644116528" sldId="2145707063"/>
            <ac:cxnSpMk id="15" creationId="{FF6257BC-90DD-855A-892E-194F6AB34992}"/>
          </ac:cxnSpMkLst>
        </pc:cxnChg>
      </pc:sldChg>
      <pc:sldChg chg="addSp modSp mod ord">
        <pc:chgData name="Nitish Kumar" userId="dd67aa8a-8cf6-4186-8ec6-f4690f9005b2" providerId="ADAL" clId="{C6D4F506-5911-4DE7-B986-0013CD5AFD26}" dt="2024-05-23T13:37:54.283" v="4380"/>
        <pc:sldMkLst>
          <pc:docMk/>
          <pc:sldMk cId="2090421735" sldId="2145707064"/>
        </pc:sldMkLst>
        <pc:spChg chg="add mod">
          <ac:chgData name="Nitish Kumar" userId="dd67aa8a-8cf6-4186-8ec6-f4690f9005b2" providerId="ADAL" clId="{C6D4F506-5911-4DE7-B986-0013CD5AFD26}" dt="2024-05-23T12:03:50.159" v="1808" actId="20577"/>
          <ac:spMkLst>
            <pc:docMk/>
            <pc:sldMk cId="2090421735" sldId="2145707064"/>
            <ac:spMk id="3" creationId="{EC8839F5-6FB4-5F8D-D396-3D32D1814E6E}"/>
          </ac:spMkLst>
        </pc:spChg>
        <pc:spChg chg="mod">
          <ac:chgData name="Nitish Kumar" userId="dd67aa8a-8cf6-4186-8ec6-f4690f9005b2" providerId="ADAL" clId="{C6D4F506-5911-4DE7-B986-0013CD5AFD26}" dt="2024-05-23T12:01:23.744" v="1542" actId="207"/>
          <ac:spMkLst>
            <pc:docMk/>
            <pc:sldMk cId="2090421735" sldId="2145707064"/>
            <ac:spMk id="18" creationId="{1854BBCE-91B1-05B5-B420-B2F9B7BA1C68}"/>
          </ac:spMkLst>
        </pc:spChg>
        <pc:graphicFrameChg chg="mod">
          <ac:chgData name="Nitish Kumar" userId="dd67aa8a-8cf6-4186-8ec6-f4690f9005b2" providerId="ADAL" clId="{C6D4F506-5911-4DE7-B986-0013CD5AFD26}" dt="2024-05-23T12:01:19.510" v="1540" actId="1076"/>
          <ac:graphicFrameMkLst>
            <pc:docMk/>
            <pc:sldMk cId="2090421735" sldId="2145707064"/>
            <ac:graphicFrameMk id="2" creationId="{8210FF80-41E8-4686-DC9F-FC19383B18D5}"/>
          </ac:graphicFrameMkLst>
        </pc:graphicFrameChg>
      </pc:sldChg>
      <pc:sldChg chg="add del">
        <pc:chgData name="Nitish Kumar" userId="dd67aa8a-8cf6-4186-8ec6-f4690f9005b2" providerId="ADAL" clId="{C6D4F506-5911-4DE7-B986-0013CD5AFD26}" dt="2024-05-23T10:19:35.899" v="285" actId="47"/>
        <pc:sldMkLst>
          <pc:docMk/>
          <pc:sldMk cId="2685780519" sldId="2145707064"/>
        </pc:sldMkLst>
      </pc:sldChg>
      <pc:sldChg chg="addSp delSp modSp add mod">
        <pc:chgData name="Nitish Kumar" userId="dd67aa8a-8cf6-4186-8ec6-f4690f9005b2" providerId="ADAL" clId="{C6D4F506-5911-4DE7-B986-0013CD5AFD26}" dt="2024-05-27T05:38:54.072" v="6771" actId="20577"/>
        <pc:sldMkLst>
          <pc:docMk/>
          <pc:sldMk cId="1188433997" sldId="2145707065"/>
        </pc:sldMkLst>
        <pc:spChg chg="add del mod">
          <ac:chgData name="Nitish Kumar" userId="dd67aa8a-8cf6-4186-8ec6-f4690f9005b2" providerId="ADAL" clId="{C6D4F506-5911-4DE7-B986-0013CD5AFD26}" dt="2024-05-27T04:37:39.774" v="5751"/>
          <ac:spMkLst>
            <pc:docMk/>
            <pc:sldMk cId="1188433997" sldId="2145707065"/>
            <ac:spMk id="6" creationId="{33FCF892-82E8-6C98-D1A1-962AF2558CA9}"/>
          </ac:spMkLst>
        </pc:spChg>
        <pc:spChg chg="add del mod">
          <ac:chgData name="Nitish Kumar" userId="dd67aa8a-8cf6-4186-8ec6-f4690f9005b2" providerId="ADAL" clId="{C6D4F506-5911-4DE7-B986-0013CD5AFD26}" dt="2024-05-27T04:37:39.774" v="5751"/>
          <ac:spMkLst>
            <pc:docMk/>
            <pc:sldMk cId="1188433997" sldId="2145707065"/>
            <ac:spMk id="7" creationId="{FCCDBAEC-FFBB-40E9-F438-6498E1E081FB}"/>
          </ac:spMkLst>
        </pc:spChg>
        <pc:spChg chg="add del mod">
          <ac:chgData name="Nitish Kumar" userId="dd67aa8a-8cf6-4186-8ec6-f4690f9005b2" providerId="ADAL" clId="{C6D4F506-5911-4DE7-B986-0013CD5AFD26}" dt="2024-05-27T04:37:39.774" v="5751"/>
          <ac:spMkLst>
            <pc:docMk/>
            <pc:sldMk cId="1188433997" sldId="2145707065"/>
            <ac:spMk id="9" creationId="{36B86480-AD99-0CDD-14D6-C704865B8C97}"/>
          </ac:spMkLst>
        </pc:spChg>
        <pc:spChg chg="add del mod">
          <ac:chgData name="Nitish Kumar" userId="dd67aa8a-8cf6-4186-8ec6-f4690f9005b2" providerId="ADAL" clId="{C6D4F506-5911-4DE7-B986-0013CD5AFD26}" dt="2024-05-27T04:37:39.774" v="5751"/>
          <ac:spMkLst>
            <pc:docMk/>
            <pc:sldMk cId="1188433997" sldId="2145707065"/>
            <ac:spMk id="10" creationId="{C1D07905-1CB2-F504-F61B-E7602D1B7D7B}"/>
          </ac:spMkLst>
        </pc:spChg>
        <pc:spChg chg="add del mod">
          <ac:chgData name="Nitish Kumar" userId="dd67aa8a-8cf6-4186-8ec6-f4690f9005b2" providerId="ADAL" clId="{C6D4F506-5911-4DE7-B986-0013CD5AFD26}" dt="2024-05-27T04:37:39.774" v="5751"/>
          <ac:spMkLst>
            <pc:docMk/>
            <pc:sldMk cId="1188433997" sldId="2145707065"/>
            <ac:spMk id="11" creationId="{0F3F2524-617F-9962-16BD-E90548A341B6}"/>
          </ac:spMkLst>
        </pc:spChg>
        <pc:spChg chg="mod">
          <ac:chgData name="Nitish Kumar" userId="dd67aa8a-8cf6-4186-8ec6-f4690f9005b2" providerId="ADAL" clId="{C6D4F506-5911-4DE7-B986-0013CD5AFD26}" dt="2024-05-27T04:37:59.591" v="5755" actId="1076"/>
          <ac:spMkLst>
            <pc:docMk/>
            <pc:sldMk cId="1188433997" sldId="2145707065"/>
            <ac:spMk id="12" creationId="{4839A865-C82B-BDF5-B30B-C1C8B7FE312E}"/>
          </ac:spMkLst>
        </pc:spChg>
        <pc:spChg chg="mod">
          <ac:chgData name="Nitish Kumar" userId="dd67aa8a-8cf6-4186-8ec6-f4690f9005b2" providerId="ADAL" clId="{C6D4F506-5911-4DE7-B986-0013CD5AFD26}" dt="2024-05-27T04:42:34.386" v="5824" actId="404"/>
          <ac:spMkLst>
            <pc:docMk/>
            <pc:sldMk cId="1188433997" sldId="2145707065"/>
            <ac:spMk id="13" creationId="{1EB78E73-CCA4-84B7-9D23-38120ECCA9C1}"/>
          </ac:spMkLst>
        </pc:spChg>
        <pc:spChg chg="mod">
          <ac:chgData name="Nitish Kumar" userId="dd67aa8a-8cf6-4186-8ec6-f4690f9005b2" providerId="ADAL" clId="{C6D4F506-5911-4DE7-B986-0013CD5AFD26}" dt="2024-05-27T04:42:38.175" v="5825" actId="1076"/>
          <ac:spMkLst>
            <pc:docMk/>
            <pc:sldMk cId="1188433997" sldId="2145707065"/>
            <ac:spMk id="14" creationId="{6EEC0262-6478-8B6F-EE2F-80C2C5515516}"/>
          </ac:spMkLst>
        </pc:spChg>
        <pc:spChg chg="mod">
          <ac:chgData name="Nitish Kumar" userId="dd67aa8a-8cf6-4186-8ec6-f4690f9005b2" providerId="ADAL" clId="{C6D4F506-5911-4DE7-B986-0013CD5AFD26}" dt="2024-05-27T04:44:08.801" v="5847" actId="1076"/>
          <ac:spMkLst>
            <pc:docMk/>
            <pc:sldMk cId="1188433997" sldId="2145707065"/>
            <ac:spMk id="17" creationId="{FE555495-0011-EB8D-AAFE-36AE49049A65}"/>
          </ac:spMkLst>
        </pc:spChg>
        <pc:spChg chg="mod">
          <ac:chgData name="Nitish Kumar" userId="dd67aa8a-8cf6-4186-8ec6-f4690f9005b2" providerId="ADAL" clId="{C6D4F506-5911-4DE7-B986-0013CD5AFD26}" dt="2024-05-27T04:44:20.923" v="5849" actId="1076"/>
          <ac:spMkLst>
            <pc:docMk/>
            <pc:sldMk cId="1188433997" sldId="2145707065"/>
            <ac:spMk id="18" creationId="{8EF0A93D-47FE-1318-CDED-E07A94527DF8}"/>
          </ac:spMkLst>
        </pc:spChg>
        <pc:spChg chg="mod">
          <ac:chgData name="Nitish Kumar" userId="dd67aa8a-8cf6-4186-8ec6-f4690f9005b2" providerId="ADAL" clId="{C6D4F506-5911-4DE7-B986-0013CD5AFD26}" dt="2024-05-27T04:37:59.591" v="5755" actId="1076"/>
          <ac:spMkLst>
            <pc:docMk/>
            <pc:sldMk cId="1188433997" sldId="2145707065"/>
            <ac:spMk id="19" creationId="{221ECBDC-932C-F02B-C6F0-BCC850B389DC}"/>
          </ac:spMkLst>
        </pc:spChg>
        <pc:spChg chg="add del mod">
          <ac:chgData name="Nitish Kumar" userId="dd67aa8a-8cf6-4186-8ec6-f4690f9005b2" providerId="ADAL" clId="{C6D4F506-5911-4DE7-B986-0013CD5AFD26}" dt="2024-05-27T04:37:39.774" v="5751"/>
          <ac:spMkLst>
            <pc:docMk/>
            <pc:sldMk cId="1188433997" sldId="2145707065"/>
            <ac:spMk id="21" creationId="{BC4A5887-2227-9781-3605-6AF6642D0E5D}"/>
          </ac:spMkLst>
        </pc:spChg>
        <pc:spChg chg="add del mod">
          <ac:chgData name="Nitish Kumar" userId="dd67aa8a-8cf6-4186-8ec6-f4690f9005b2" providerId="ADAL" clId="{C6D4F506-5911-4DE7-B986-0013CD5AFD26}" dt="2024-05-27T04:37:39.774" v="5751"/>
          <ac:spMkLst>
            <pc:docMk/>
            <pc:sldMk cId="1188433997" sldId="2145707065"/>
            <ac:spMk id="22" creationId="{0821AE71-15B5-4827-D2B3-2B5DF3A20F75}"/>
          </ac:spMkLst>
        </pc:spChg>
        <pc:spChg chg="mod">
          <ac:chgData name="Nitish Kumar" userId="dd67aa8a-8cf6-4186-8ec6-f4690f9005b2" providerId="ADAL" clId="{C6D4F506-5911-4DE7-B986-0013CD5AFD26}" dt="2024-05-27T04:37:59.591" v="5755" actId="1076"/>
          <ac:spMkLst>
            <pc:docMk/>
            <pc:sldMk cId="1188433997" sldId="2145707065"/>
            <ac:spMk id="23" creationId="{58523D04-CA2D-000A-7276-66EE3C19647F}"/>
          </ac:spMkLst>
        </pc:spChg>
        <pc:spChg chg="add del mod">
          <ac:chgData name="Nitish Kumar" userId="dd67aa8a-8cf6-4186-8ec6-f4690f9005b2" providerId="ADAL" clId="{C6D4F506-5911-4DE7-B986-0013CD5AFD26}" dt="2024-05-27T04:37:39.774" v="5751"/>
          <ac:spMkLst>
            <pc:docMk/>
            <pc:sldMk cId="1188433997" sldId="2145707065"/>
            <ac:spMk id="24" creationId="{93EB3E19-B3BE-FCBE-3A70-B0D9C5138464}"/>
          </ac:spMkLst>
        </pc:spChg>
        <pc:spChg chg="add del mod">
          <ac:chgData name="Nitish Kumar" userId="dd67aa8a-8cf6-4186-8ec6-f4690f9005b2" providerId="ADAL" clId="{C6D4F506-5911-4DE7-B986-0013CD5AFD26}" dt="2024-05-27T04:37:39.774" v="5751"/>
          <ac:spMkLst>
            <pc:docMk/>
            <pc:sldMk cId="1188433997" sldId="2145707065"/>
            <ac:spMk id="25" creationId="{1F9EBA63-A152-A3AB-0AAD-96D5461BAF1D}"/>
          </ac:spMkLst>
        </pc:spChg>
        <pc:spChg chg="add del mod">
          <ac:chgData name="Nitish Kumar" userId="dd67aa8a-8cf6-4186-8ec6-f4690f9005b2" providerId="ADAL" clId="{C6D4F506-5911-4DE7-B986-0013CD5AFD26}" dt="2024-05-27T04:37:39.774" v="5751"/>
          <ac:spMkLst>
            <pc:docMk/>
            <pc:sldMk cId="1188433997" sldId="2145707065"/>
            <ac:spMk id="26" creationId="{55D55539-E0DB-65CC-5016-16A115CF6F99}"/>
          </ac:spMkLst>
        </pc:spChg>
        <pc:spChg chg="add del mod">
          <ac:chgData name="Nitish Kumar" userId="dd67aa8a-8cf6-4186-8ec6-f4690f9005b2" providerId="ADAL" clId="{C6D4F506-5911-4DE7-B986-0013CD5AFD26}" dt="2024-05-27T04:37:39.774" v="5751"/>
          <ac:spMkLst>
            <pc:docMk/>
            <pc:sldMk cId="1188433997" sldId="2145707065"/>
            <ac:spMk id="27" creationId="{985E716A-AB93-B517-2980-107FB5DD0CD5}"/>
          </ac:spMkLst>
        </pc:spChg>
        <pc:spChg chg="add del mod">
          <ac:chgData name="Nitish Kumar" userId="dd67aa8a-8cf6-4186-8ec6-f4690f9005b2" providerId="ADAL" clId="{C6D4F506-5911-4DE7-B986-0013CD5AFD26}" dt="2024-05-27T04:38:00.790" v="5757"/>
          <ac:spMkLst>
            <pc:docMk/>
            <pc:sldMk cId="1188433997" sldId="2145707065"/>
            <ac:spMk id="32" creationId="{EEB0E9B5-94AA-EF63-EF23-323C100FC99E}"/>
          </ac:spMkLst>
        </pc:spChg>
        <pc:spChg chg="add del mod">
          <ac:chgData name="Nitish Kumar" userId="dd67aa8a-8cf6-4186-8ec6-f4690f9005b2" providerId="ADAL" clId="{C6D4F506-5911-4DE7-B986-0013CD5AFD26}" dt="2024-05-27T04:38:00.790" v="5757"/>
          <ac:spMkLst>
            <pc:docMk/>
            <pc:sldMk cId="1188433997" sldId="2145707065"/>
            <ac:spMk id="33" creationId="{B9ADEF3F-F0E3-5CC2-8545-2E82204676C3}"/>
          </ac:spMkLst>
        </pc:spChg>
        <pc:spChg chg="add del mod">
          <ac:chgData name="Nitish Kumar" userId="dd67aa8a-8cf6-4186-8ec6-f4690f9005b2" providerId="ADAL" clId="{C6D4F506-5911-4DE7-B986-0013CD5AFD26}" dt="2024-05-27T04:38:00.790" v="5757"/>
          <ac:spMkLst>
            <pc:docMk/>
            <pc:sldMk cId="1188433997" sldId="2145707065"/>
            <ac:spMk id="35" creationId="{38A7C1F0-D852-BF9C-F84C-4F9F09BC9D69}"/>
          </ac:spMkLst>
        </pc:spChg>
        <pc:spChg chg="add del mod">
          <ac:chgData name="Nitish Kumar" userId="dd67aa8a-8cf6-4186-8ec6-f4690f9005b2" providerId="ADAL" clId="{C6D4F506-5911-4DE7-B986-0013CD5AFD26}" dt="2024-05-27T04:38:00.790" v="5757"/>
          <ac:spMkLst>
            <pc:docMk/>
            <pc:sldMk cId="1188433997" sldId="2145707065"/>
            <ac:spMk id="36" creationId="{DF7995B9-EAAA-DCBE-A463-3C1D316FA3EB}"/>
          </ac:spMkLst>
        </pc:spChg>
        <pc:spChg chg="add del mod">
          <ac:chgData name="Nitish Kumar" userId="dd67aa8a-8cf6-4186-8ec6-f4690f9005b2" providerId="ADAL" clId="{C6D4F506-5911-4DE7-B986-0013CD5AFD26}" dt="2024-05-27T04:38:00.790" v="5757"/>
          <ac:spMkLst>
            <pc:docMk/>
            <pc:sldMk cId="1188433997" sldId="2145707065"/>
            <ac:spMk id="37" creationId="{83F2E837-D980-FEC9-DC84-99A1409E7FF8}"/>
          </ac:spMkLst>
        </pc:spChg>
        <pc:spChg chg="add del mod">
          <ac:chgData name="Nitish Kumar" userId="dd67aa8a-8cf6-4186-8ec6-f4690f9005b2" providerId="ADAL" clId="{C6D4F506-5911-4DE7-B986-0013CD5AFD26}" dt="2024-05-27T04:38:00.790" v="5757"/>
          <ac:spMkLst>
            <pc:docMk/>
            <pc:sldMk cId="1188433997" sldId="2145707065"/>
            <ac:spMk id="38" creationId="{89C3164A-4FB2-ACAA-56B1-147C7CF8D64D}"/>
          </ac:spMkLst>
        </pc:spChg>
        <pc:spChg chg="add del mod">
          <ac:chgData name="Nitish Kumar" userId="dd67aa8a-8cf6-4186-8ec6-f4690f9005b2" providerId="ADAL" clId="{C6D4F506-5911-4DE7-B986-0013CD5AFD26}" dt="2024-05-27T04:38:00.790" v="5757"/>
          <ac:spMkLst>
            <pc:docMk/>
            <pc:sldMk cId="1188433997" sldId="2145707065"/>
            <ac:spMk id="39" creationId="{8280754B-7CDD-1906-2C7F-2787DFCC271A}"/>
          </ac:spMkLst>
        </pc:spChg>
        <pc:spChg chg="add del mod">
          <ac:chgData name="Nitish Kumar" userId="dd67aa8a-8cf6-4186-8ec6-f4690f9005b2" providerId="ADAL" clId="{C6D4F506-5911-4DE7-B986-0013CD5AFD26}" dt="2024-05-27T04:38:00.790" v="5757"/>
          <ac:spMkLst>
            <pc:docMk/>
            <pc:sldMk cId="1188433997" sldId="2145707065"/>
            <ac:spMk id="40" creationId="{104E2DB2-BAFF-845F-13E6-603C91DAAFA3}"/>
          </ac:spMkLst>
        </pc:spChg>
        <pc:spChg chg="add del mod">
          <ac:chgData name="Nitish Kumar" userId="dd67aa8a-8cf6-4186-8ec6-f4690f9005b2" providerId="ADAL" clId="{C6D4F506-5911-4DE7-B986-0013CD5AFD26}" dt="2024-05-27T04:38:00.790" v="5757"/>
          <ac:spMkLst>
            <pc:docMk/>
            <pc:sldMk cId="1188433997" sldId="2145707065"/>
            <ac:spMk id="41" creationId="{855E4659-3348-645D-BD94-32694E323631}"/>
          </ac:spMkLst>
        </pc:spChg>
        <pc:spChg chg="add del mod">
          <ac:chgData name="Nitish Kumar" userId="dd67aa8a-8cf6-4186-8ec6-f4690f9005b2" providerId="ADAL" clId="{C6D4F506-5911-4DE7-B986-0013CD5AFD26}" dt="2024-05-27T04:38:00.790" v="5757"/>
          <ac:spMkLst>
            <pc:docMk/>
            <pc:sldMk cId="1188433997" sldId="2145707065"/>
            <ac:spMk id="42" creationId="{7825E0F8-84AB-AEE0-409D-ACA0FE8BE319}"/>
          </ac:spMkLst>
        </pc:spChg>
        <pc:spChg chg="add del mod">
          <ac:chgData name="Nitish Kumar" userId="dd67aa8a-8cf6-4186-8ec6-f4690f9005b2" providerId="ADAL" clId="{C6D4F506-5911-4DE7-B986-0013CD5AFD26}" dt="2024-05-27T04:38:00.790" v="5757"/>
          <ac:spMkLst>
            <pc:docMk/>
            <pc:sldMk cId="1188433997" sldId="2145707065"/>
            <ac:spMk id="43" creationId="{9C8C7836-C532-5857-949C-9D22506E38F0}"/>
          </ac:spMkLst>
        </pc:spChg>
        <pc:spChg chg="add mod">
          <ac:chgData name="Nitish Kumar" userId="dd67aa8a-8cf6-4186-8ec6-f4690f9005b2" providerId="ADAL" clId="{C6D4F506-5911-4DE7-B986-0013CD5AFD26}" dt="2024-05-27T04:44:30.125" v="5851" actId="1076"/>
          <ac:spMkLst>
            <pc:docMk/>
            <pc:sldMk cId="1188433997" sldId="2145707065"/>
            <ac:spMk id="44" creationId="{502BEBCC-7F5F-B177-9AA6-4F93FABBB878}"/>
          </ac:spMkLst>
        </pc:spChg>
        <pc:spChg chg="add mod">
          <ac:chgData name="Nitish Kumar" userId="dd67aa8a-8cf6-4186-8ec6-f4690f9005b2" providerId="ADAL" clId="{C6D4F506-5911-4DE7-B986-0013CD5AFD26}" dt="2024-05-27T04:45:25.686" v="5861" actId="14100"/>
          <ac:spMkLst>
            <pc:docMk/>
            <pc:sldMk cId="1188433997" sldId="2145707065"/>
            <ac:spMk id="49" creationId="{00F86A32-5E8C-E4B2-9488-6AB9C7E0037C}"/>
          </ac:spMkLst>
        </pc:spChg>
        <pc:spChg chg="add mod">
          <ac:chgData name="Nitish Kumar" userId="dd67aa8a-8cf6-4186-8ec6-f4690f9005b2" providerId="ADAL" clId="{C6D4F506-5911-4DE7-B986-0013CD5AFD26}" dt="2024-05-27T04:46:46.545" v="5876" actId="113"/>
          <ac:spMkLst>
            <pc:docMk/>
            <pc:sldMk cId="1188433997" sldId="2145707065"/>
            <ac:spMk id="50" creationId="{830C00AF-AAFC-A026-FC1F-F860D3BEBB78}"/>
          </ac:spMkLst>
        </pc:spChg>
        <pc:spChg chg="add mod">
          <ac:chgData name="Nitish Kumar" userId="dd67aa8a-8cf6-4186-8ec6-f4690f9005b2" providerId="ADAL" clId="{C6D4F506-5911-4DE7-B986-0013CD5AFD26}" dt="2024-05-27T04:46:43.855" v="5875" actId="113"/>
          <ac:spMkLst>
            <pc:docMk/>
            <pc:sldMk cId="1188433997" sldId="2145707065"/>
            <ac:spMk id="51" creationId="{FFBDFF82-84DD-5D15-3555-D4DFE2554322}"/>
          </ac:spMkLst>
        </pc:spChg>
        <pc:spChg chg="add mod">
          <ac:chgData name="Nitish Kumar" userId="dd67aa8a-8cf6-4186-8ec6-f4690f9005b2" providerId="ADAL" clId="{C6D4F506-5911-4DE7-B986-0013CD5AFD26}" dt="2024-05-27T04:46:37.665" v="5874" actId="113"/>
          <ac:spMkLst>
            <pc:docMk/>
            <pc:sldMk cId="1188433997" sldId="2145707065"/>
            <ac:spMk id="52" creationId="{2CAFF606-139B-C63B-2EE3-5EA64D68EFC2}"/>
          </ac:spMkLst>
        </pc:spChg>
        <pc:spChg chg="add mod">
          <ac:chgData name="Nitish Kumar" userId="dd67aa8a-8cf6-4186-8ec6-f4690f9005b2" providerId="ADAL" clId="{C6D4F506-5911-4DE7-B986-0013CD5AFD26}" dt="2024-05-27T04:44:52.937" v="5855" actId="164"/>
          <ac:spMkLst>
            <pc:docMk/>
            <pc:sldMk cId="1188433997" sldId="2145707065"/>
            <ac:spMk id="53" creationId="{E3AB3273-B832-807B-0EA8-9C8C8DBD2B22}"/>
          </ac:spMkLst>
        </pc:spChg>
        <pc:spChg chg="add mod">
          <ac:chgData name="Nitish Kumar" userId="dd67aa8a-8cf6-4186-8ec6-f4690f9005b2" providerId="ADAL" clId="{C6D4F506-5911-4DE7-B986-0013CD5AFD26}" dt="2024-05-27T04:44:52.937" v="5855" actId="164"/>
          <ac:spMkLst>
            <pc:docMk/>
            <pc:sldMk cId="1188433997" sldId="2145707065"/>
            <ac:spMk id="54" creationId="{9D01B859-19E3-1915-321C-EA9C8C61F073}"/>
          </ac:spMkLst>
        </pc:spChg>
        <pc:spChg chg="add mod">
          <ac:chgData name="Nitish Kumar" userId="dd67aa8a-8cf6-4186-8ec6-f4690f9005b2" providerId="ADAL" clId="{C6D4F506-5911-4DE7-B986-0013CD5AFD26}" dt="2024-05-27T04:44:52.937" v="5855" actId="164"/>
          <ac:spMkLst>
            <pc:docMk/>
            <pc:sldMk cId="1188433997" sldId="2145707065"/>
            <ac:spMk id="55" creationId="{28B04CBE-AE4E-9597-82E3-30284E236B12}"/>
          </ac:spMkLst>
        </pc:spChg>
        <pc:spChg chg="mod">
          <ac:chgData name="Nitish Kumar" userId="dd67aa8a-8cf6-4186-8ec6-f4690f9005b2" providerId="ADAL" clId="{C6D4F506-5911-4DE7-B986-0013CD5AFD26}" dt="2024-05-27T05:38:54.072" v="6771" actId="20577"/>
          <ac:spMkLst>
            <pc:docMk/>
            <pc:sldMk cId="1188433997" sldId="2145707065"/>
            <ac:spMk id="73" creationId="{85029B03-ECDB-6647-8207-261076C07D92}"/>
          </ac:spMkLst>
        </pc:spChg>
        <pc:spChg chg="mod">
          <ac:chgData name="Nitish Kumar" userId="dd67aa8a-8cf6-4186-8ec6-f4690f9005b2" providerId="ADAL" clId="{C6D4F506-5911-4DE7-B986-0013CD5AFD26}" dt="2024-05-27T05:25:14.533" v="6552" actId="14100"/>
          <ac:spMkLst>
            <pc:docMk/>
            <pc:sldMk cId="1188433997" sldId="2145707065"/>
            <ac:spMk id="74" creationId="{F833C6CD-2262-74F4-7079-D0FFC49CE36A}"/>
          </ac:spMkLst>
        </pc:spChg>
        <pc:spChg chg="mod">
          <ac:chgData name="Nitish Kumar" userId="dd67aa8a-8cf6-4186-8ec6-f4690f9005b2" providerId="ADAL" clId="{C6D4F506-5911-4DE7-B986-0013CD5AFD26}" dt="2024-05-27T05:25:19.918" v="6553" actId="1076"/>
          <ac:spMkLst>
            <pc:docMk/>
            <pc:sldMk cId="1188433997" sldId="2145707065"/>
            <ac:spMk id="75" creationId="{78F5BD58-1B32-F43B-C202-1E9A22A21DD0}"/>
          </ac:spMkLst>
        </pc:spChg>
        <pc:spChg chg="mod">
          <ac:chgData name="Nitish Kumar" userId="dd67aa8a-8cf6-4186-8ec6-f4690f9005b2" providerId="ADAL" clId="{C6D4F506-5911-4DE7-B986-0013CD5AFD26}" dt="2024-05-27T05:13:45.848" v="6275"/>
          <ac:spMkLst>
            <pc:docMk/>
            <pc:sldMk cId="1188433997" sldId="2145707065"/>
            <ac:spMk id="76" creationId="{D37D504F-B680-CD85-3173-5251B09DEF54}"/>
          </ac:spMkLst>
        </pc:spChg>
        <pc:spChg chg="mod">
          <ac:chgData name="Nitish Kumar" userId="dd67aa8a-8cf6-4186-8ec6-f4690f9005b2" providerId="ADAL" clId="{C6D4F506-5911-4DE7-B986-0013CD5AFD26}" dt="2024-05-27T05:13:45.848" v="6275"/>
          <ac:spMkLst>
            <pc:docMk/>
            <pc:sldMk cId="1188433997" sldId="2145707065"/>
            <ac:spMk id="77" creationId="{607D6BC8-ED50-76D6-CE38-EF602B981265}"/>
          </ac:spMkLst>
        </pc:spChg>
        <pc:spChg chg="mod">
          <ac:chgData name="Nitish Kumar" userId="dd67aa8a-8cf6-4186-8ec6-f4690f9005b2" providerId="ADAL" clId="{C6D4F506-5911-4DE7-B986-0013CD5AFD26}" dt="2024-05-27T05:38:44.746" v="6770" actId="20577"/>
          <ac:spMkLst>
            <pc:docMk/>
            <pc:sldMk cId="1188433997" sldId="2145707065"/>
            <ac:spMk id="83" creationId="{D80167FD-F7B5-C2CE-8D56-3B73278D28DB}"/>
          </ac:spMkLst>
        </pc:spChg>
        <pc:spChg chg="mod">
          <ac:chgData name="Nitish Kumar" userId="dd67aa8a-8cf6-4186-8ec6-f4690f9005b2" providerId="ADAL" clId="{C6D4F506-5911-4DE7-B986-0013CD5AFD26}" dt="2024-05-27T05:38:35.121" v="6769" actId="20577"/>
          <ac:spMkLst>
            <pc:docMk/>
            <pc:sldMk cId="1188433997" sldId="2145707065"/>
            <ac:spMk id="84" creationId="{EED402A9-854A-FC7C-1259-674D87B1DAC1}"/>
          </ac:spMkLst>
        </pc:spChg>
        <pc:spChg chg="mod">
          <ac:chgData name="Nitish Kumar" userId="dd67aa8a-8cf6-4186-8ec6-f4690f9005b2" providerId="ADAL" clId="{C6D4F506-5911-4DE7-B986-0013CD5AFD26}" dt="2024-05-27T05:38:27.805" v="6768" actId="20577"/>
          <ac:spMkLst>
            <pc:docMk/>
            <pc:sldMk cId="1188433997" sldId="2145707065"/>
            <ac:spMk id="85" creationId="{6A8E7709-25D7-EE92-4DED-D4DCC61AFFCF}"/>
          </ac:spMkLst>
        </pc:spChg>
        <pc:spChg chg="mod">
          <ac:chgData name="Nitish Kumar" userId="dd67aa8a-8cf6-4186-8ec6-f4690f9005b2" providerId="ADAL" clId="{C6D4F506-5911-4DE7-B986-0013CD5AFD26}" dt="2024-05-27T05:36:40.048" v="6694" actId="20577"/>
          <ac:spMkLst>
            <pc:docMk/>
            <pc:sldMk cId="1188433997" sldId="2145707065"/>
            <ac:spMk id="86" creationId="{ECCAE4D4-AF1B-3746-9ED4-E79612D41FCC}"/>
          </ac:spMkLst>
        </pc:spChg>
        <pc:spChg chg="mod">
          <ac:chgData name="Nitish Kumar" userId="dd67aa8a-8cf6-4186-8ec6-f4690f9005b2" providerId="ADAL" clId="{C6D4F506-5911-4DE7-B986-0013CD5AFD26}" dt="2024-05-27T05:32:31.580" v="6643" actId="693"/>
          <ac:spMkLst>
            <pc:docMk/>
            <pc:sldMk cId="1188433997" sldId="2145707065"/>
            <ac:spMk id="87" creationId="{6FA944D2-DEE4-F54E-DBC3-E88D866FF8D4}"/>
          </ac:spMkLst>
        </pc:spChg>
        <pc:spChg chg="mod">
          <ac:chgData name="Nitish Kumar" userId="dd67aa8a-8cf6-4186-8ec6-f4690f9005b2" providerId="ADAL" clId="{C6D4F506-5911-4DE7-B986-0013CD5AFD26}" dt="2024-05-27T05:32:52.932" v="6646" actId="1076"/>
          <ac:spMkLst>
            <pc:docMk/>
            <pc:sldMk cId="1188433997" sldId="2145707065"/>
            <ac:spMk id="88" creationId="{6D77E93A-A78C-1FE9-FCC2-0D8C48BFB7E1}"/>
          </ac:spMkLst>
        </pc:spChg>
        <pc:spChg chg="mod">
          <ac:chgData name="Nitish Kumar" userId="dd67aa8a-8cf6-4186-8ec6-f4690f9005b2" providerId="ADAL" clId="{C6D4F506-5911-4DE7-B986-0013CD5AFD26}" dt="2024-05-27T05:32:21.685" v="6642" actId="693"/>
          <ac:spMkLst>
            <pc:docMk/>
            <pc:sldMk cId="1188433997" sldId="2145707065"/>
            <ac:spMk id="89" creationId="{ACE530FC-2AD9-2C12-D0B5-336D62119A23}"/>
          </ac:spMkLst>
        </pc:spChg>
        <pc:spChg chg="add mod">
          <ac:chgData name="Nitish Kumar" userId="dd67aa8a-8cf6-4186-8ec6-f4690f9005b2" providerId="ADAL" clId="{C6D4F506-5911-4DE7-B986-0013CD5AFD26}" dt="2024-05-27T05:33:48.301" v="6652" actId="1076"/>
          <ac:spMkLst>
            <pc:docMk/>
            <pc:sldMk cId="1188433997" sldId="2145707065"/>
            <ac:spMk id="146" creationId="{FC416E67-06FF-BBC4-9B4A-E47F4CF10A35}"/>
          </ac:spMkLst>
        </pc:spChg>
        <pc:grpChg chg="add del mod">
          <ac:chgData name="Nitish Kumar" userId="dd67aa8a-8cf6-4186-8ec6-f4690f9005b2" providerId="ADAL" clId="{C6D4F506-5911-4DE7-B986-0013CD5AFD26}" dt="2024-05-27T05:13:16.492" v="6267" actId="21"/>
          <ac:grpSpMkLst>
            <pc:docMk/>
            <pc:sldMk cId="1188433997" sldId="2145707065"/>
            <ac:grpSpMk id="56" creationId="{02512A54-D8CF-469B-5D3C-AB1FC68DA0ED}"/>
          </ac:grpSpMkLst>
        </pc:grpChg>
        <pc:grpChg chg="add mod">
          <ac:chgData name="Nitish Kumar" userId="dd67aa8a-8cf6-4186-8ec6-f4690f9005b2" providerId="ADAL" clId="{C6D4F506-5911-4DE7-B986-0013CD5AFD26}" dt="2024-05-27T05:28:05.829" v="6583" actId="1076"/>
          <ac:grpSpMkLst>
            <pc:docMk/>
            <pc:sldMk cId="1188433997" sldId="2145707065"/>
            <ac:grpSpMk id="67" creationId="{C93A99DA-07AE-3DF3-6322-DF997636C16F}"/>
          </ac:grpSpMkLst>
        </pc:grpChg>
        <pc:grpChg chg="mod">
          <ac:chgData name="Nitish Kumar" userId="dd67aa8a-8cf6-4186-8ec6-f4690f9005b2" providerId="ADAL" clId="{C6D4F506-5911-4DE7-B986-0013CD5AFD26}" dt="2024-05-27T05:13:45.848" v="6275"/>
          <ac:grpSpMkLst>
            <pc:docMk/>
            <pc:sldMk cId="1188433997" sldId="2145707065"/>
            <ac:grpSpMk id="78" creationId="{AAB06542-4761-A284-8E43-ADCCF5890E29}"/>
          </ac:grpSpMkLst>
        </pc:grpChg>
        <pc:graphicFrameChg chg="add del mod">
          <ac:chgData name="Nitish Kumar" userId="dd67aa8a-8cf6-4186-8ec6-f4690f9005b2" providerId="ADAL" clId="{C6D4F506-5911-4DE7-B986-0013CD5AFD26}" dt="2024-05-27T04:37:39.774" v="5751"/>
          <ac:graphicFrameMkLst>
            <pc:docMk/>
            <pc:sldMk cId="1188433997" sldId="2145707065"/>
            <ac:graphicFrameMk id="8" creationId="{3B6C9926-9C35-53C1-635E-CC746136D67C}"/>
          </ac:graphicFrameMkLst>
        </pc:graphicFrameChg>
        <pc:graphicFrameChg chg="mod modGraphic">
          <ac:chgData name="Nitish Kumar" userId="dd67aa8a-8cf6-4186-8ec6-f4690f9005b2" providerId="ADAL" clId="{C6D4F506-5911-4DE7-B986-0013CD5AFD26}" dt="2024-05-27T04:44:13.058" v="5848" actId="14734"/>
          <ac:graphicFrameMkLst>
            <pc:docMk/>
            <pc:sldMk cId="1188433997" sldId="2145707065"/>
            <ac:graphicFrameMk id="15" creationId="{E5A82E67-87AA-59B1-2B2C-A07371F72924}"/>
          </ac:graphicFrameMkLst>
        </pc:graphicFrameChg>
        <pc:graphicFrameChg chg="mod">
          <ac:chgData name="Nitish Kumar" userId="dd67aa8a-8cf6-4186-8ec6-f4690f9005b2" providerId="ADAL" clId="{C6D4F506-5911-4DE7-B986-0013CD5AFD26}" dt="2024-05-27T04:37:59.591" v="5755" actId="1076"/>
          <ac:graphicFrameMkLst>
            <pc:docMk/>
            <pc:sldMk cId="1188433997" sldId="2145707065"/>
            <ac:graphicFrameMk id="20" creationId="{1FAE1877-2310-6CE5-B8F4-E840A3705DC9}"/>
          </ac:graphicFrameMkLst>
        </pc:graphicFrameChg>
        <pc:graphicFrameChg chg="add del mod">
          <ac:chgData name="Nitish Kumar" userId="dd67aa8a-8cf6-4186-8ec6-f4690f9005b2" providerId="ADAL" clId="{C6D4F506-5911-4DE7-B986-0013CD5AFD26}" dt="2024-05-27T04:38:00.790" v="5757"/>
          <ac:graphicFrameMkLst>
            <pc:docMk/>
            <pc:sldMk cId="1188433997" sldId="2145707065"/>
            <ac:graphicFrameMk id="34" creationId="{CBF6B0EB-C81F-28CC-A736-7A77CF5A20FF}"/>
          </ac:graphicFrameMkLst>
        </pc:graphicFrameChg>
        <pc:picChg chg="add del mod">
          <ac:chgData name="Nitish Kumar" userId="dd67aa8a-8cf6-4186-8ec6-f4690f9005b2" providerId="ADAL" clId="{C6D4F506-5911-4DE7-B986-0013CD5AFD26}" dt="2024-05-27T04:37:39.774" v="5751"/>
          <ac:picMkLst>
            <pc:docMk/>
            <pc:sldMk cId="1188433997" sldId="2145707065"/>
            <ac:picMk id="2" creationId="{8DF55A8E-A348-F015-2AEA-E4338B42F6E3}"/>
          </ac:picMkLst>
        </pc:picChg>
        <pc:picChg chg="add del mod">
          <ac:chgData name="Nitish Kumar" userId="dd67aa8a-8cf6-4186-8ec6-f4690f9005b2" providerId="ADAL" clId="{C6D4F506-5911-4DE7-B986-0013CD5AFD26}" dt="2024-05-27T04:42:40.129" v="5826" actId="1076"/>
          <ac:picMkLst>
            <pc:docMk/>
            <pc:sldMk cId="1188433997" sldId="2145707065"/>
            <ac:picMk id="16" creationId="{642ACB91-D5C6-DC8C-0027-87D00381D05F}"/>
          </ac:picMkLst>
        </pc:picChg>
        <pc:picChg chg="add del mod">
          <ac:chgData name="Nitish Kumar" userId="dd67aa8a-8cf6-4186-8ec6-f4690f9005b2" providerId="ADAL" clId="{C6D4F506-5911-4DE7-B986-0013CD5AFD26}" dt="2024-05-27T04:38:00.790" v="5757"/>
          <ac:picMkLst>
            <pc:docMk/>
            <pc:sldMk cId="1188433997" sldId="2145707065"/>
            <ac:picMk id="28" creationId="{954BD41A-5577-E30F-32A3-8EEF00D18B36}"/>
          </ac:picMkLst>
        </pc:picChg>
        <pc:picChg chg="add mod">
          <ac:chgData name="Nitish Kumar" userId="dd67aa8a-8cf6-4186-8ec6-f4690f9005b2" providerId="ADAL" clId="{C6D4F506-5911-4DE7-B986-0013CD5AFD26}" dt="2024-05-27T04:44:52.937" v="5855" actId="164"/>
          <ac:picMkLst>
            <pc:docMk/>
            <pc:sldMk cId="1188433997" sldId="2145707065"/>
            <ac:picMk id="45" creationId="{01A52E73-6198-D464-7F7B-B6E54AAF3A26}"/>
          </ac:picMkLst>
        </pc:picChg>
        <pc:picChg chg="mod">
          <ac:chgData name="Nitish Kumar" userId="dd67aa8a-8cf6-4186-8ec6-f4690f9005b2" providerId="ADAL" clId="{C6D4F506-5911-4DE7-B986-0013CD5AFD26}" dt="2024-05-27T05:26:03.918" v="6560" actId="1076"/>
          <ac:picMkLst>
            <pc:docMk/>
            <pc:sldMk cId="1188433997" sldId="2145707065"/>
            <ac:picMk id="79" creationId="{303DB539-7271-2D34-12E8-47F2DD61F38C}"/>
          </ac:picMkLst>
        </pc:picChg>
        <pc:cxnChg chg="add del mod">
          <ac:chgData name="Nitish Kumar" userId="dd67aa8a-8cf6-4186-8ec6-f4690f9005b2" providerId="ADAL" clId="{C6D4F506-5911-4DE7-B986-0013CD5AFD26}" dt="2024-05-27T04:37:39.774" v="5751"/>
          <ac:cxnSpMkLst>
            <pc:docMk/>
            <pc:sldMk cId="1188433997" sldId="2145707065"/>
            <ac:cxnSpMk id="3" creationId="{84B7474E-522B-52E2-3E2D-86C87CB6D73B}"/>
          </ac:cxnSpMkLst>
        </pc:cxnChg>
        <pc:cxnChg chg="add del mod">
          <ac:chgData name="Nitish Kumar" userId="dd67aa8a-8cf6-4186-8ec6-f4690f9005b2" providerId="ADAL" clId="{C6D4F506-5911-4DE7-B986-0013CD5AFD26}" dt="2024-05-27T04:37:39.774" v="5751"/>
          <ac:cxnSpMkLst>
            <pc:docMk/>
            <pc:sldMk cId="1188433997" sldId="2145707065"/>
            <ac:cxnSpMk id="4" creationId="{65A81729-D0E1-0FF2-2FE9-999F49EB2597}"/>
          </ac:cxnSpMkLst>
        </pc:cxnChg>
        <pc:cxnChg chg="add del mod">
          <ac:chgData name="Nitish Kumar" userId="dd67aa8a-8cf6-4186-8ec6-f4690f9005b2" providerId="ADAL" clId="{C6D4F506-5911-4DE7-B986-0013CD5AFD26}" dt="2024-05-27T04:37:39.774" v="5751"/>
          <ac:cxnSpMkLst>
            <pc:docMk/>
            <pc:sldMk cId="1188433997" sldId="2145707065"/>
            <ac:cxnSpMk id="5" creationId="{DD296925-2F60-C24B-602D-65C6D396781E}"/>
          </ac:cxnSpMkLst>
        </pc:cxnChg>
        <pc:cxnChg chg="add del mod">
          <ac:chgData name="Nitish Kumar" userId="dd67aa8a-8cf6-4186-8ec6-f4690f9005b2" providerId="ADAL" clId="{C6D4F506-5911-4DE7-B986-0013CD5AFD26}" dt="2024-05-27T04:38:00.790" v="5757"/>
          <ac:cxnSpMkLst>
            <pc:docMk/>
            <pc:sldMk cId="1188433997" sldId="2145707065"/>
            <ac:cxnSpMk id="29" creationId="{960E5E7B-0F27-4668-EF9E-9F2514286D4D}"/>
          </ac:cxnSpMkLst>
        </pc:cxnChg>
        <pc:cxnChg chg="add del mod">
          <ac:chgData name="Nitish Kumar" userId="dd67aa8a-8cf6-4186-8ec6-f4690f9005b2" providerId="ADAL" clId="{C6D4F506-5911-4DE7-B986-0013CD5AFD26}" dt="2024-05-27T04:38:00.790" v="5757"/>
          <ac:cxnSpMkLst>
            <pc:docMk/>
            <pc:sldMk cId="1188433997" sldId="2145707065"/>
            <ac:cxnSpMk id="30" creationId="{7B0875E5-DE3D-8C81-DFE8-F145B030832D}"/>
          </ac:cxnSpMkLst>
        </pc:cxnChg>
        <pc:cxnChg chg="add del mod">
          <ac:chgData name="Nitish Kumar" userId="dd67aa8a-8cf6-4186-8ec6-f4690f9005b2" providerId="ADAL" clId="{C6D4F506-5911-4DE7-B986-0013CD5AFD26}" dt="2024-05-27T04:38:00.790" v="5757"/>
          <ac:cxnSpMkLst>
            <pc:docMk/>
            <pc:sldMk cId="1188433997" sldId="2145707065"/>
            <ac:cxnSpMk id="31" creationId="{389A7E70-B521-FEED-0079-43463076494D}"/>
          </ac:cxnSpMkLst>
        </pc:cxnChg>
        <pc:cxnChg chg="add mod">
          <ac:chgData name="Nitish Kumar" userId="dd67aa8a-8cf6-4186-8ec6-f4690f9005b2" providerId="ADAL" clId="{C6D4F506-5911-4DE7-B986-0013CD5AFD26}" dt="2024-05-27T05:13:16.492" v="6267" actId="21"/>
          <ac:cxnSpMkLst>
            <pc:docMk/>
            <pc:sldMk cId="1188433997" sldId="2145707065"/>
            <ac:cxnSpMk id="46" creationId="{1EA0F26F-8E2C-DEB2-A895-76D0E56EA450}"/>
          </ac:cxnSpMkLst>
        </pc:cxnChg>
        <pc:cxnChg chg="add mod">
          <ac:chgData name="Nitish Kumar" userId="dd67aa8a-8cf6-4186-8ec6-f4690f9005b2" providerId="ADAL" clId="{C6D4F506-5911-4DE7-B986-0013CD5AFD26}" dt="2024-05-27T05:13:16.492" v="6267" actId="21"/>
          <ac:cxnSpMkLst>
            <pc:docMk/>
            <pc:sldMk cId="1188433997" sldId="2145707065"/>
            <ac:cxnSpMk id="47" creationId="{CE395C7D-9DFE-C149-88D6-81B9486BC6AC}"/>
          </ac:cxnSpMkLst>
        </pc:cxnChg>
        <pc:cxnChg chg="add mod">
          <ac:chgData name="Nitish Kumar" userId="dd67aa8a-8cf6-4186-8ec6-f4690f9005b2" providerId="ADAL" clId="{C6D4F506-5911-4DE7-B986-0013CD5AFD26}" dt="2024-05-27T05:13:16.492" v="6267" actId="21"/>
          <ac:cxnSpMkLst>
            <pc:docMk/>
            <pc:sldMk cId="1188433997" sldId="2145707065"/>
            <ac:cxnSpMk id="48" creationId="{E706B349-ABB0-ECA6-64ED-F5CE2F3D9375}"/>
          </ac:cxnSpMkLst>
        </pc:cxnChg>
        <pc:cxnChg chg="mod">
          <ac:chgData name="Nitish Kumar" userId="dd67aa8a-8cf6-4186-8ec6-f4690f9005b2" providerId="ADAL" clId="{C6D4F506-5911-4DE7-B986-0013CD5AFD26}" dt="2024-05-27T05:25:52.189" v="6558" actId="14100"/>
          <ac:cxnSpMkLst>
            <pc:docMk/>
            <pc:sldMk cId="1188433997" sldId="2145707065"/>
            <ac:cxnSpMk id="68" creationId="{632D5010-ED3D-3920-E3F7-E824ABEDE6A0}"/>
          </ac:cxnSpMkLst>
        </pc:cxnChg>
        <pc:cxnChg chg="mod">
          <ac:chgData name="Nitish Kumar" userId="dd67aa8a-8cf6-4186-8ec6-f4690f9005b2" providerId="ADAL" clId="{C6D4F506-5911-4DE7-B986-0013CD5AFD26}" dt="2024-05-27T05:25:29.986" v="6555" actId="1076"/>
          <ac:cxnSpMkLst>
            <pc:docMk/>
            <pc:sldMk cId="1188433997" sldId="2145707065"/>
            <ac:cxnSpMk id="69" creationId="{87FE9D81-BDC2-B141-54CE-EB68C9BA40BC}"/>
          </ac:cxnSpMkLst>
        </pc:cxnChg>
        <pc:cxnChg chg="mod">
          <ac:chgData name="Nitish Kumar" userId="dd67aa8a-8cf6-4186-8ec6-f4690f9005b2" providerId="ADAL" clId="{C6D4F506-5911-4DE7-B986-0013CD5AFD26}" dt="2024-05-27T05:13:45.848" v="6275"/>
          <ac:cxnSpMkLst>
            <pc:docMk/>
            <pc:sldMk cId="1188433997" sldId="2145707065"/>
            <ac:cxnSpMk id="70" creationId="{754425AC-B2C1-0FB7-FA8A-00844FCBD7DA}"/>
          </ac:cxnSpMkLst>
        </pc:cxnChg>
        <pc:cxnChg chg="mod">
          <ac:chgData name="Nitish Kumar" userId="dd67aa8a-8cf6-4186-8ec6-f4690f9005b2" providerId="ADAL" clId="{C6D4F506-5911-4DE7-B986-0013CD5AFD26}" dt="2024-05-27T05:13:45.848" v="6275"/>
          <ac:cxnSpMkLst>
            <pc:docMk/>
            <pc:sldMk cId="1188433997" sldId="2145707065"/>
            <ac:cxnSpMk id="71" creationId="{A1656084-4204-EC18-3444-E64546F6B062}"/>
          </ac:cxnSpMkLst>
        </pc:cxnChg>
        <pc:cxnChg chg="mod">
          <ac:chgData name="Nitish Kumar" userId="dd67aa8a-8cf6-4186-8ec6-f4690f9005b2" providerId="ADAL" clId="{C6D4F506-5911-4DE7-B986-0013CD5AFD26}" dt="2024-05-27T05:13:45.848" v="6275"/>
          <ac:cxnSpMkLst>
            <pc:docMk/>
            <pc:sldMk cId="1188433997" sldId="2145707065"/>
            <ac:cxnSpMk id="72" creationId="{C5CC3D69-0989-C2E2-0126-A953F69CB0FD}"/>
          </ac:cxnSpMkLst>
        </pc:cxnChg>
        <pc:cxnChg chg="mod">
          <ac:chgData name="Nitish Kumar" userId="dd67aa8a-8cf6-4186-8ec6-f4690f9005b2" providerId="ADAL" clId="{C6D4F506-5911-4DE7-B986-0013CD5AFD26}" dt="2024-05-27T05:37:31.920" v="6731" actId="20577"/>
          <ac:cxnSpMkLst>
            <pc:docMk/>
            <pc:sldMk cId="1188433997" sldId="2145707065"/>
            <ac:cxnSpMk id="80" creationId="{C1E38080-94B9-9767-A38E-2B17C15951C7}"/>
          </ac:cxnSpMkLst>
        </pc:cxnChg>
        <pc:cxnChg chg="mod">
          <ac:chgData name="Nitish Kumar" userId="dd67aa8a-8cf6-4186-8ec6-f4690f9005b2" providerId="ADAL" clId="{C6D4F506-5911-4DE7-B986-0013CD5AFD26}" dt="2024-05-27T05:31:47.369" v="6637" actId="208"/>
          <ac:cxnSpMkLst>
            <pc:docMk/>
            <pc:sldMk cId="1188433997" sldId="2145707065"/>
            <ac:cxnSpMk id="81" creationId="{76F28FA0-1F3B-A9C3-A921-F9605A73633A}"/>
          </ac:cxnSpMkLst>
        </pc:cxnChg>
        <pc:cxnChg chg="mod">
          <ac:chgData name="Nitish Kumar" userId="dd67aa8a-8cf6-4186-8ec6-f4690f9005b2" providerId="ADAL" clId="{C6D4F506-5911-4DE7-B986-0013CD5AFD26}" dt="2024-05-27T05:32:52.932" v="6646" actId="1076"/>
          <ac:cxnSpMkLst>
            <pc:docMk/>
            <pc:sldMk cId="1188433997" sldId="2145707065"/>
            <ac:cxnSpMk id="82" creationId="{7C7E3610-1364-C96F-FDAF-2A37D05D3FD3}"/>
          </ac:cxnSpMkLst>
        </pc:cxnChg>
      </pc:sldChg>
      <pc:sldChg chg="addSp delSp modSp new add del mod">
        <pc:chgData name="Nitish Kumar" userId="dd67aa8a-8cf6-4186-8ec6-f4690f9005b2" providerId="ADAL" clId="{C6D4F506-5911-4DE7-B986-0013CD5AFD26}" dt="2024-05-23T13:37:24.952" v="4377" actId="2696"/>
        <pc:sldMkLst>
          <pc:docMk/>
          <pc:sldMk cId="4087157106" sldId="2145707065"/>
        </pc:sldMkLst>
        <pc:spChg chg="del">
          <ac:chgData name="Nitish Kumar" userId="dd67aa8a-8cf6-4186-8ec6-f4690f9005b2" providerId="ADAL" clId="{C6D4F506-5911-4DE7-B986-0013CD5AFD26}" dt="2024-05-23T12:22:53.847" v="2811" actId="478"/>
          <ac:spMkLst>
            <pc:docMk/>
            <pc:sldMk cId="4087157106" sldId="2145707065"/>
            <ac:spMk id="2" creationId="{4F0DCD74-7E2B-BF2A-A403-EFF9FFEB9EB5}"/>
          </ac:spMkLst>
        </pc:spChg>
        <pc:spChg chg="del">
          <ac:chgData name="Nitish Kumar" userId="dd67aa8a-8cf6-4186-8ec6-f4690f9005b2" providerId="ADAL" clId="{C6D4F506-5911-4DE7-B986-0013CD5AFD26}" dt="2024-05-23T12:22:53.847" v="2811" actId="478"/>
          <ac:spMkLst>
            <pc:docMk/>
            <pc:sldMk cId="4087157106" sldId="2145707065"/>
            <ac:spMk id="3" creationId="{26897813-8157-3919-F786-2485095F1CA7}"/>
          </ac:spMkLst>
        </pc:spChg>
        <pc:spChg chg="del">
          <ac:chgData name="Nitish Kumar" userId="dd67aa8a-8cf6-4186-8ec6-f4690f9005b2" providerId="ADAL" clId="{C6D4F506-5911-4DE7-B986-0013CD5AFD26}" dt="2024-05-23T12:22:53.847" v="2811" actId="478"/>
          <ac:spMkLst>
            <pc:docMk/>
            <pc:sldMk cId="4087157106" sldId="2145707065"/>
            <ac:spMk id="4" creationId="{08C735CA-BD10-10A8-88D5-556E8B664FD6}"/>
          </ac:spMkLst>
        </pc:spChg>
        <pc:spChg chg="del">
          <ac:chgData name="Nitish Kumar" userId="dd67aa8a-8cf6-4186-8ec6-f4690f9005b2" providerId="ADAL" clId="{C6D4F506-5911-4DE7-B986-0013CD5AFD26}" dt="2024-05-23T12:22:53.847" v="2811" actId="478"/>
          <ac:spMkLst>
            <pc:docMk/>
            <pc:sldMk cId="4087157106" sldId="2145707065"/>
            <ac:spMk id="5" creationId="{3E757488-D227-1CF2-BD5A-F5130C5DEA9B}"/>
          </ac:spMkLst>
        </pc:spChg>
        <pc:spChg chg="del">
          <ac:chgData name="Nitish Kumar" userId="dd67aa8a-8cf6-4186-8ec6-f4690f9005b2" providerId="ADAL" clId="{C6D4F506-5911-4DE7-B986-0013CD5AFD26}" dt="2024-05-23T12:22:53.847" v="2811" actId="478"/>
          <ac:spMkLst>
            <pc:docMk/>
            <pc:sldMk cId="4087157106" sldId="2145707065"/>
            <ac:spMk id="6" creationId="{41C38C8F-75A8-70C9-9FED-77A98EFB4FFF}"/>
          </ac:spMkLst>
        </pc:spChg>
        <pc:spChg chg="del">
          <ac:chgData name="Nitish Kumar" userId="dd67aa8a-8cf6-4186-8ec6-f4690f9005b2" providerId="ADAL" clId="{C6D4F506-5911-4DE7-B986-0013CD5AFD26}" dt="2024-05-23T12:22:53.847" v="2811" actId="478"/>
          <ac:spMkLst>
            <pc:docMk/>
            <pc:sldMk cId="4087157106" sldId="2145707065"/>
            <ac:spMk id="7" creationId="{90222629-6D62-3356-7CD7-2C2A539CADED}"/>
          </ac:spMkLst>
        </pc:spChg>
        <pc:spChg chg="del">
          <ac:chgData name="Nitish Kumar" userId="dd67aa8a-8cf6-4186-8ec6-f4690f9005b2" providerId="ADAL" clId="{C6D4F506-5911-4DE7-B986-0013CD5AFD26}" dt="2024-05-23T12:22:53.847" v="2811" actId="478"/>
          <ac:spMkLst>
            <pc:docMk/>
            <pc:sldMk cId="4087157106" sldId="2145707065"/>
            <ac:spMk id="8" creationId="{C644277D-7EAB-6C11-3DF9-9446E4FEF8D8}"/>
          </ac:spMkLst>
        </pc:spChg>
        <pc:spChg chg="del">
          <ac:chgData name="Nitish Kumar" userId="dd67aa8a-8cf6-4186-8ec6-f4690f9005b2" providerId="ADAL" clId="{C6D4F506-5911-4DE7-B986-0013CD5AFD26}" dt="2024-05-23T12:22:53.847" v="2811" actId="478"/>
          <ac:spMkLst>
            <pc:docMk/>
            <pc:sldMk cId="4087157106" sldId="2145707065"/>
            <ac:spMk id="9" creationId="{52714220-7D35-E240-8A24-2ECEAD81E523}"/>
          </ac:spMkLst>
        </pc:spChg>
        <pc:spChg chg="del">
          <ac:chgData name="Nitish Kumar" userId="dd67aa8a-8cf6-4186-8ec6-f4690f9005b2" providerId="ADAL" clId="{C6D4F506-5911-4DE7-B986-0013CD5AFD26}" dt="2024-05-23T12:22:53.847" v="2811" actId="478"/>
          <ac:spMkLst>
            <pc:docMk/>
            <pc:sldMk cId="4087157106" sldId="2145707065"/>
            <ac:spMk id="10" creationId="{3DDE03BD-FC6C-0F42-F1F1-F72067A03916}"/>
          </ac:spMkLst>
        </pc:spChg>
        <pc:spChg chg="del">
          <ac:chgData name="Nitish Kumar" userId="dd67aa8a-8cf6-4186-8ec6-f4690f9005b2" providerId="ADAL" clId="{C6D4F506-5911-4DE7-B986-0013CD5AFD26}" dt="2024-05-23T12:22:53.847" v="2811" actId="478"/>
          <ac:spMkLst>
            <pc:docMk/>
            <pc:sldMk cId="4087157106" sldId="2145707065"/>
            <ac:spMk id="11" creationId="{02DD9F79-5A90-C2C5-862E-F19F56139D71}"/>
          </ac:spMkLst>
        </pc:spChg>
        <pc:spChg chg="add mod">
          <ac:chgData name="Nitish Kumar" userId="dd67aa8a-8cf6-4186-8ec6-f4690f9005b2" providerId="ADAL" clId="{C6D4F506-5911-4DE7-B986-0013CD5AFD26}" dt="2024-05-23T12:53:24.181" v="4171" actId="20577"/>
          <ac:spMkLst>
            <pc:docMk/>
            <pc:sldMk cId="4087157106" sldId="2145707065"/>
            <ac:spMk id="12" creationId="{4839A865-C82B-BDF5-B30B-C1C8B7FE312E}"/>
          </ac:spMkLst>
        </pc:spChg>
        <pc:spChg chg="add mod">
          <ac:chgData name="Nitish Kumar" userId="dd67aa8a-8cf6-4186-8ec6-f4690f9005b2" providerId="ADAL" clId="{C6D4F506-5911-4DE7-B986-0013CD5AFD26}" dt="2024-05-23T12:24:04.722" v="2861" actId="1076"/>
          <ac:spMkLst>
            <pc:docMk/>
            <pc:sldMk cId="4087157106" sldId="2145707065"/>
            <ac:spMk id="13" creationId="{1EB78E73-CCA4-84B7-9D23-38120ECCA9C1}"/>
          </ac:spMkLst>
        </pc:spChg>
        <pc:spChg chg="add mod">
          <ac:chgData name="Nitish Kumar" userId="dd67aa8a-8cf6-4186-8ec6-f4690f9005b2" providerId="ADAL" clId="{C6D4F506-5911-4DE7-B986-0013CD5AFD26}" dt="2024-05-23T12:43:26.568" v="3941" actId="1076"/>
          <ac:spMkLst>
            <pc:docMk/>
            <pc:sldMk cId="4087157106" sldId="2145707065"/>
            <ac:spMk id="14" creationId="{6EEC0262-6478-8B6F-EE2F-80C2C5515516}"/>
          </ac:spMkLst>
        </pc:spChg>
        <pc:spChg chg="add mod">
          <ac:chgData name="Nitish Kumar" userId="dd67aa8a-8cf6-4186-8ec6-f4690f9005b2" providerId="ADAL" clId="{C6D4F506-5911-4DE7-B986-0013CD5AFD26}" dt="2024-05-23T12:43:26.568" v="3941" actId="1076"/>
          <ac:spMkLst>
            <pc:docMk/>
            <pc:sldMk cId="4087157106" sldId="2145707065"/>
            <ac:spMk id="17" creationId="{FE555495-0011-EB8D-AAFE-36AE49049A65}"/>
          </ac:spMkLst>
        </pc:spChg>
        <pc:spChg chg="add mod">
          <ac:chgData name="Nitish Kumar" userId="dd67aa8a-8cf6-4186-8ec6-f4690f9005b2" providerId="ADAL" clId="{C6D4F506-5911-4DE7-B986-0013CD5AFD26}" dt="2024-05-23T12:43:26.568" v="3941" actId="1076"/>
          <ac:spMkLst>
            <pc:docMk/>
            <pc:sldMk cId="4087157106" sldId="2145707065"/>
            <ac:spMk id="18" creationId="{8EF0A93D-47FE-1318-CDED-E07A94527DF8}"/>
          </ac:spMkLst>
        </pc:spChg>
        <pc:spChg chg="add mod">
          <ac:chgData name="Nitish Kumar" userId="dd67aa8a-8cf6-4186-8ec6-f4690f9005b2" providerId="ADAL" clId="{C6D4F506-5911-4DE7-B986-0013CD5AFD26}" dt="2024-05-23T12:24:04.722" v="2861" actId="1076"/>
          <ac:spMkLst>
            <pc:docMk/>
            <pc:sldMk cId="4087157106" sldId="2145707065"/>
            <ac:spMk id="19" creationId="{221ECBDC-932C-F02B-C6F0-BCC850B389DC}"/>
          </ac:spMkLst>
        </pc:spChg>
        <pc:spChg chg="add del mod">
          <ac:chgData name="Nitish Kumar" userId="dd67aa8a-8cf6-4186-8ec6-f4690f9005b2" providerId="ADAL" clId="{C6D4F506-5911-4DE7-B986-0013CD5AFD26}" dt="2024-05-23T12:49:08.410" v="3991"/>
          <ac:spMkLst>
            <pc:docMk/>
            <pc:sldMk cId="4087157106" sldId="2145707065"/>
            <ac:spMk id="21" creationId="{75970E4A-A09C-7F6F-59CD-78F869E5F76A}"/>
          </ac:spMkLst>
        </pc:spChg>
        <pc:spChg chg="add del mod">
          <ac:chgData name="Nitish Kumar" userId="dd67aa8a-8cf6-4186-8ec6-f4690f9005b2" providerId="ADAL" clId="{C6D4F506-5911-4DE7-B986-0013CD5AFD26}" dt="2024-05-23T12:52:31.628" v="4137"/>
          <ac:spMkLst>
            <pc:docMk/>
            <pc:sldMk cId="4087157106" sldId="2145707065"/>
            <ac:spMk id="22" creationId="{BE720A7D-172A-2699-CC12-14E6A11E0E7F}"/>
          </ac:spMkLst>
        </pc:spChg>
        <pc:spChg chg="add mod">
          <ac:chgData name="Nitish Kumar" userId="dd67aa8a-8cf6-4186-8ec6-f4690f9005b2" providerId="ADAL" clId="{C6D4F506-5911-4DE7-B986-0013CD5AFD26}" dt="2024-05-23T13:09:21.636" v="4323" actId="20577"/>
          <ac:spMkLst>
            <pc:docMk/>
            <pc:sldMk cId="4087157106" sldId="2145707065"/>
            <ac:spMk id="23" creationId="{58523D04-CA2D-000A-7276-66EE3C19647F}"/>
          </ac:spMkLst>
        </pc:spChg>
        <pc:graphicFrameChg chg="add mod">
          <ac:chgData name="Nitish Kumar" userId="dd67aa8a-8cf6-4186-8ec6-f4690f9005b2" providerId="ADAL" clId="{C6D4F506-5911-4DE7-B986-0013CD5AFD26}" dt="2024-05-23T12:43:26.568" v="3941" actId="1076"/>
          <ac:graphicFrameMkLst>
            <pc:docMk/>
            <pc:sldMk cId="4087157106" sldId="2145707065"/>
            <ac:graphicFrameMk id="15" creationId="{E5A82E67-87AA-59B1-2B2C-A07371F72924}"/>
          </ac:graphicFrameMkLst>
        </pc:graphicFrameChg>
        <pc:graphicFrameChg chg="add mod">
          <ac:chgData name="Nitish Kumar" userId="dd67aa8a-8cf6-4186-8ec6-f4690f9005b2" providerId="ADAL" clId="{C6D4F506-5911-4DE7-B986-0013CD5AFD26}" dt="2024-05-23T12:37:25.705" v="3612" actId="1076"/>
          <ac:graphicFrameMkLst>
            <pc:docMk/>
            <pc:sldMk cId="4087157106" sldId="2145707065"/>
            <ac:graphicFrameMk id="20" creationId="{1FAE1877-2310-6CE5-B8F4-E840A3705DC9}"/>
          </ac:graphicFrameMkLst>
        </pc:graphicFrameChg>
        <pc:picChg chg="add mod">
          <ac:chgData name="Nitish Kumar" userId="dd67aa8a-8cf6-4186-8ec6-f4690f9005b2" providerId="ADAL" clId="{C6D4F506-5911-4DE7-B986-0013CD5AFD26}" dt="2024-05-23T12:43:26.568" v="3941" actId="1076"/>
          <ac:picMkLst>
            <pc:docMk/>
            <pc:sldMk cId="4087157106" sldId="2145707065"/>
            <ac:picMk id="16" creationId="{642ACB91-D5C6-DC8C-0027-87D00381D05F}"/>
          </ac:picMkLst>
        </pc:picChg>
      </pc:sldChg>
      <pc:sldChg chg="addSp delSp modSp new add mod">
        <pc:chgData name="Nitish Kumar" userId="dd67aa8a-8cf6-4186-8ec6-f4690f9005b2" providerId="ADAL" clId="{C6D4F506-5911-4DE7-B986-0013CD5AFD26}" dt="2024-05-27T05:46:59.162" v="6796" actId="20577"/>
        <pc:sldMkLst>
          <pc:docMk/>
          <pc:sldMk cId="2895678895" sldId="2145707066"/>
        </pc:sldMkLst>
        <pc:spChg chg="del">
          <ac:chgData name="Nitish Kumar" userId="dd67aa8a-8cf6-4186-8ec6-f4690f9005b2" providerId="ADAL" clId="{C6D4F506-5911-4DE7-B986-0013CD5AFD26}" dt="2024-05-27T01:19:47.110" v="4388" actId="478"/>
          <ac:spMkLst>
            <pc:docMk/>
            <pc:sldMk cId="2895678895" sldId="2145707066"/>
            <ac:spMk id="2" creationId="{0FE24363-1F66-4515-BCFA-336D35A08492}"/>
          </ac:spMkLst>
        </pc:spChg>
        <pc:spChg chg="del">
          <ac:chgData name="Nitish Kumar" userId="dd67aa8a-8cf6-4186-8ec6-f4690f9005b2" providerId="ADAL" clId="{C6D4F506-5911-4DE7-B986-0013CD5AFD26}" dt="2024-05-27T01:19:47.110" v="4388" actId="478"/>
          <ac:spMkLst>
            <pc:docMk/>
            <pc:sldMk cId="2895678895" sldId="2145707066"/>
            <ac:spMk id="3" creationId="{AE5B93E8-B2D5-15CE-5127-0001B0E7EC2C}"/>
          </ac:spMkLst>
        </pc:spChg>
        <pc:spChg chg="del">
          <ac:chgData name="Nitish Kumar" userId="dd67aa8a-8cf6-4186-8ec6-f4690f9005b2" providerId="ADAL" clId="{C6D4F506-5911-4DE7-B986-0013CD5AFD26}" dt="2024-05-27T01:19:47.110" v="4388" actId="478"/>
          <ac:spMkLst>
            <pc:docMk/>
            <pc:sldMk cId="2895678895" sldId="2145707066"/>
            <ac:spMk id="4" creationId="{DA3D2E25-88C9-E4C5-4D19-1AB91E1A3A06}"/>
          </ac:spMkLst>
        </pc:spChg>
        <pc:spChg chg="del">
          <ac:chgData name="Nitish Kumar" userId="dd67aa8a-8cf6-4186-8ec6-f4690f9005b2" providerId="ADAL" clId="{C6D4F506-5911-4DE7-B986-0013CD5AFD26}" dt="2024-05-27T01:19:47.110" v="4388" actId="478"/>
          <ac:spMkLst>
            <pc:docMk/>
            <pc:sldMk cId="2895678895" sldId="2145707066"/>
            <ac:spMk id="5" creationId="{786C0D8D-AF37-ADA2-1C64-8DA7A349416C}"/>
          </ac:spMkLst>
        </pc:spChg>
        <pc:spChg chg="del">
          <ac:chgData name="Nitish Kumar" userId="dd67aa8a-8cf6-4186-8ec6-f4690f9005b2" providerId="ADAL" clId="{C6D4F506-5911-4DE7-B986-0013CD5AFD26}" dt="2024-05-27T01:19:47.110" v="4388" actId="478"/>
          <ac:spMkLst>
            <pc:docMk/>
            <pc:sldMk cId="2895678895" sldId="2145707066"/>
            <ac:spMk id="6" creationId="{22C987CE-848D-1EF9-243E-E318674B6AA0}"/>
          </ac:spMkLst>
        </pc:spChg>
        <pc:spChg chg="del">
          <ac:chgData name="Nitish Kumar" userId="dd67aa8a-8cf6-4186-8ec6-f4690f9005b2" providerId="ADAL" clId="{C6D4F506-5911-4DE7-B986-0013CD5AFD26}" dt="2024-05-27T01:19:47.110" v="4388" actId="478"/>
          <ac:spMkLst>
            <pc:docMk/>
            <pc:sldMk cId="2895678895" sldId="2145707066"/>
            <ac:spMk id="7" creationId="{52CA50C4-1D4B-555D-A035-A03A2D724F0F}"/>
          </ac:spMkLst>
        </pc:spChg>
        <pc:spChg chg="del">
          <ac:chgData name="Nitish Kumar" userId="dd67aa8a-8cf6-4186-8ec6-f4690f9005b2" providerId="ADAL" clId="{C6D4F506-5911-4DE7-B986-0013CD5AFD26}" dt="2024-05-27T01:19:47.110" v="4388" actId="478"/>
          <ac:spMkLst>
            <pc:docMk/>
            <pc:sldMk cId="2895678895" sldId="2145707066"/>
            <ac:spMk id="8" creationId="{145B50A1-7956-6C6C-006D-D172E0B2CB70}"/>
          </ac:spMkLst>
        </pc:spChg>
        <pc:spChg chg="del">
          <ac:chgData name="Nitish Kumar" userId="dd67aa8a-8cf6-4186-8ec6-f4690f9005b2" providerId="ADAL" clId="{C6D4F506-5911-4DE7-B986-0013CD5AFD26}" dt="2024-05-27T01:19:47.110" v="4388" actId="478"/>
          <ac:spMkLst>
            <pc:docMk/>
            <pc:sldMk cId="2895678895" sldId="2145707066"/>
            <ac:spMk id="9" creationId="{E3EDB337-C95E-45B3-4862-1FC3B3D86656}"/>
          </ac:spMkLst>
        </pc:spChg>
        <pc:spChg chg="del">
          <ac:chgData name="Nitish Kumar" userId="dd67aa8a-8cf6-4186-8ec6-f4690f9005b2" providerId="ADAL" clId="{C6D4F506-5911-4DE7-B986-0013CD5AFD26}" dt="2024-05-27T01:19:47.110" v="4388" actId="478"/>
          <ac:spMkLst>
            <pc:docMk/>
            <pc:sldMk cId="2895678895" sldId="2145707066"/>
            <ac:spMk id="10" creationId="{75D73270-6752-926F-F11D-F9B7462BA483}"/>
          </ac:spMkLst>
        </pc:spChg>
        <pc:spChg chg="del">
          <ac:chgData name="Nitish Kumar" userId="dd67aa8a-8cf6-4186-8ec6-f4690f9005b2" providerId="ADAL" clId="{C6D4F506-5911-4DE7-B986-0013CD5AFD26}" dt="2024-05-27T01:19:47.110" v="4388" actId="478"/>
          <ac:spMkLst>
            <pc:docMk/>
            <pc:sldMk cId="2895678895" sldId="2145707066"/>
            <ac:spMk id="11" creationId="{0EF35504-930A-2BD9-3FAF-FB0481C4BCB6}"/>
          </ac:spMkLst>
        </pc:spChg>
        <pc:spChg chg="add mod">
          <ac:chgData name="Nitish Kumar" userId="dd67aa8a-8cf6-4186-8ec6-f4690f9005b2" providerId="ADAL" clId="{C6D4F506-5911-4DE7-B986-0013CD5AFD26}" dt="2024-05-27T05:46:59.162" v="6796" actId="20577"/>
          <ac:spMkLst>
            <pc:docMk/>
            <pc:sldMk cId="2895678895" sldId="2145707066"/>
            <ac:spMk id="14" creationId="{56E476B5-73F0-5972-A411-4A9F01A0E5CF}"/>
          </ac:spMkLst>
        </pc:spChg>
        <pc:spChg chg="add mod">
          <ac:chgData name="Nitish Kumar" userId="dd67aa8a-8cf6-4186-8ec6-f4690f9005b2" providerId="ADAL" clId="{C6D4F506-5911-4DE7-B986-0013CD5AFD26}" dt="2024-05-27T01:50:02.016" v="4796" actId="14100"/>
          <ac:spMkLst>
            <pc:docMk/>
            <pc:sldMk cId="2895678895" sldId="2145707066"/>
            <ac:spMk id="15" creationId="{2CE76337-849A-6D63-84AC-99ED21374649}"/>
          </ac:spMkLst>
        </pc:spChg>
        <pc:spChg chg="add mod">
          <ac:chgData name="Nitish Kumar" userId="dd67aa8a-8cf6-4186-8ec6-f4690f9005b2" providerId="ADAL" clId="{C6D4F506-5911-4DE7-B986-0013CD5AFD26}" dt="2024-05-27T01:41:16.252" v="4758" actId="1076"/>
          <ac:spMkLst>
            <pc:docMk/>
            <pc:sldMk cId="2895678895" sldId="2145707066"/>
            <ac:spMk id="19" creationId="{836E9C2D-8BF8-EA3D-4F0F-18D27CA448A6}"/>
          </ac:spMkLst>
        </pc:spChg>
        <pc:graphicFrameChg chg="add mod modGraphic">
          <ac:chgData name="Nitish Kumar" userId="dd67aa8a-8cf6-4186-8ec6-f4690f9005b2" providerId="ADAL" clId="{C6D4F506-5911-4DE7-B986-0013CD5AFD26}" dt="2024-05-27T01:42:15.767" v="4785" actId="20577"/>
          <ac:graphicFrameMkLst>
            <pc:docMk/>
            <pc:sldMk cId="2895678895" sldId="2145707066"/>
            <ac:graphicFrameMk id="24" creationId="{7B0DF8BC-D791-6341-32C8-F4FB5D4E8D65}"/>
          </ac:graphicFrameMkLst>
        </pc:graphicFrameChg>
        <pc:picChg chg="add mod">
          <ac:chgData name="Nitish Kumar" userId="dd67aa8a-8cf6-4186-8ec6-f4690f9005b2" providerId="ADAL" clId="{C6D4F506-5911-4DE7-B986-0013CD5AFD26}" dt="2024-05-27T01:49:45.733" v="4791" actId="14100"/>
          <ac:picMkLst>
            <pc:docMk/>
            <pc:sldMk cId="2895678895" sldId="2145707066"/>
            <ac:picMk id="13" creationId="{3C54B94E-BA4A-BE6B-9A8C-22DD104B117A}"/>
          </ac:picMkLst>
        </pc:picChg>
        <pc:cxnChg chg="add mod">
          <ac:chgData name="Nitish Kumar" userId="dd67aa8a-8cf6-4186-8ec6-f4690f9005b2" providerId="ADAL" clId="{C6D4F506-5911-4DE7-B986-0013CD5AFD26}" dt="2024-05-27T01:41:29.976" v="4761" actId="14100"/>
          <ac:cxnSpMkLst>
            <pc:docMk/>
            <pc:sldMk cId="2895678895" sldId="2145707066"/>
            <ac:cxnSpMk id="17" creationId="{7ED57E88-975B-BD01-2B16-B780708FFD38}"/>
          </ac:cxnSpMkLst>
        </pc:cxnChg>
        <pc:cxnChg chg="add mod">
          <ac:chgData name="Nitish Kumar" userId="dd67aa8a-8cf6-4186-8ec6-f4690f9005b2" providerId="ADAL" clId="{C6D4F506-5911-4DE7-B986-0013CD5AFD26}" dt="2024-05-27T01:41:43.845" v="4762" actId="14100"/>
          <ac:cxnSpMkLst>
            <pc:docMk/>
            <pc:sldMk cId="2895678895" sldId="2145707066"/>
            <ac:cxnSpMk id="26" creationId="{44CE5521-5527-4406-56B5-42C576A929C5}"/>
          </ac:cxnSpMkLst>
        </pc:cxnChg>
        <pc:cxnChg chg="add mod">
          <ac:chgData name="Nitish Kumar" userId="dd67aa8a-8cf6-4186-8ec6-f4690f9005b2" providerId="ADAL" clId="{C6D4F506-5911-4DE7-B986-0013CD5AFD26}" dt="2024-05-27T01:41:25.719" v="4760" actId="14100"/>
          <ac:cxnSpMkLst>
            <pc:docMk/>
            <pc:sldMk cId="2895678895" sldId="2145707066"/>
            <ac:cxnSpMk id="27" creationId="{98FE0BE9-9233-9C40-2256-8EF497801DE3}"/>
          </ac:cxnSpMkLst>
        </pc:cxnChg>
      </pc:sldChg>
      <pc:sldChg chg="addSp delSp modSp new add del mod ord">
        <pc:chgData name="Nitish Kumar" userId="dd67aa8a-8cf6-4186-8ec6-f4690f9005b2" providerId="ADAL" clId="{C6D4F506-5911-4DE7-B986-0013CD5AFD26}" dt="2024-05-27T05:39:20.114" v="6775" actId="47"/>
        <pc:sldMkLst>
          <pc:docMk/>
          <pc:sldMk cId="3011026662" sldId="2145707067"/>
        </pc:sldMkLst>
        <pc:spChg chg="del">
          <ac:chgData name="Nitish Kumar" userId="dd67aa8a-8cf6-4186-8ec6-f4690f9005b2" providerId="ADAL" clId="{C6D4F506-5911-4DE7-B986-0013CD5AFD26}" dt="2024-05-27T01:28:47.923" v="4606" actId="478"/>
          <ac:spMkLst>
            <pc:docMk/>
            <pc:sldMk cId="3011026662" sldId="2145707067"/>
            <ac:spMk id="2" creationId="{F93D47D4-07CB-D3F0-DC3F-85C9A34A828C}"/>
          </ac:spMkLst>
        </pc:spChg>
        <pc:spChg chg="del">
          <ac:chgData name="Nitish Kumar" userId="dd67aa8a-8cf6-4186-8ec6-f4690f9005b2" providerId="ADAL" clId="{C6D4F506-5911-4DE7-B986-0013CD5AFD26}" dt="2024-05-27T01:28:47.923" v="4606" actId="478"/>
          <ac:spMkLst>
            <pc:docMk/>
            <pc:sldMk cId="3011026662" sldId="2145707067"/>
            <ac:spMk id="3" creationId="{471332D5-6824-FB04-863D-74A109815E4C}"/>
          </ac:spMkLst>
        </pc:spChg>
        <pc:spChg chg="del">
          <ac:chgData name="Nitish Kumar" userId="dd67aa8a-8cf6-4186-8ec6-f4690f9005b2" providerId="ADAL" clId="{C6D4F506-5911-4DE7-B986-0013CD5AFD26}" dt="2024-05-27T01:28:47.923" v="4606" actId="478"/>
          <ac:spMkLst>
            <pc:docMk/>
            <pc:sldMk cId="3011026662" sldId="2145707067"/>
            <ac:spMk id="4" creationId="{81D21040-8060-010A-73E6-DE383BF3B2DF}"/>
          </ac:spMkLst>
        </pc:spChg>
        <pc:spChg chg="del">
          <ac:chgData name="Nitish Kumar" userId="dd67aa8a-8cf6-4186-8ec6-f4690f9005b2" providerId="ADAL" clId="{C6D4F506-5911-4DE7-B986-0013CD5AFD26}" dt="2024-05-27T01:28:47.923" v="4606" actId="478"/>
          <ac:spMkLst>
            <pc:docMk/>
            <pc:sldMk cId="3011026662" sldId="2145707067"/>
            <ac:spMk id="5" creationId="{A401E1E7-EBF5-F27D-0AEB-A096E1E45916}"/>
          </ac:spMkLst>
        </pc:spChg>
        <pc:spChg chg="del">
          <ac:chgData name="Nitish Kumar" userId="dd67aa8a-8cf6-4186-8ec6-f4690f9005b2" providerId="ADAL" clId="{C6D4F506-5911-4DE7-B986-0013CD5AFD26}" dt="2024-05-27T01:28:47.923" v="4606" actId="478"/>
          <ac:spMkLst>
            <pc:docMk/>
            <pc:sldMk cId="3011026662" sldId="2145707067"/>
            <ac:spMk id="6" creationId="{D377C07C-7320-FDE8-952A-7D88E18282EF}"/>
          </ac:spMkLst>
        </pc:spChg>
        <pc:spChg chg="del">
          <ac:chgData name="Nitish Kumar" userId="dd67aa8a-8cf6-4186-8ec6-f4690f9005b2" providerId="ADAL" clId="{C6D4F506-5911-4DE7-B986-0013CD5AFD26}" dt="2024-05-27T01:28:47.923" v="4606" actId="478"/>
          <ac:spMkLst>
            <pc:docMk/>
            <pc:sldMk cId="3011026662" sldId="2145707067"/>
            <ac:spMk id="7" creationId="{D105BFF8-BF1D-48B1-AAF5-04BF6594DFB4}"/>
          </ac:spMkLst>
        </pc:spChg>
        <pc:spChg chg="del">
          <ac:chgData name="Nitish Kumar" userId="dd67aa8a-8cf6-4186-8ec6-f4690f9005b2" providerId="ADAL" clId="{C6D4F506-5911-4DE7-B986-0013CD5AFD26}" dt="2024-05-27T01:28:47.923" v="4606" actId="478"/>
          <ac:spMkLst>
            <pc:docMk/>
            <pc:sldMk cId="3011026662" sldId="2145707067"/>
            <ac:spMk id="8" creationId="{DDB7E464-1538-1709-62A8-609F6DDCB461}"/>
          </ac:spMkLst>
        </pc:spChg>
        <pc:spChg chg="del">
          <ac:chgData name="Nitish Kumar" userId="dd67aa8a-8cf6-4186-8ec6-f4690f9005b2" providerId="ADAL" clId="{C6D4F506-5911-4DE7-B986-0013CD5AFD26}" dt="2024-05-27T01:28:47.923" v="4606" actId="478"/>
          <ac:spMkLst>
            <pc:docMk/>
            <pc:sldMk cId="3011026662" sldId="2145707067"/>
            <ac:spMk id="9" creationId="{B17C2355-06C6-2DF6-7C0B-74A460A27029}"/>
          </ac:spMkLst>
        </pc:spChg>
        <pc:spChg chg="del">
          <ac:chgData name="Nitish Kumar" userId="dd67aa8a-8cf6-4186-8ec6-f4690f9005b2" providerId="ADAL" clId="{C6D4F506-5911-4DE7-B986-0013CD5AFD26}" dt="2024-05-27T01:28:47.923" v="4606" actId="478"/>
          <ac:spMkLst>
            <pc:docMk/>
            <pc:sldMk cId="3011026662" sldId="2145707067"/>
            <ac:spMk id="10" creationId="{EC5800DC-9886-9E45-80BD-7DE407655DD5}"/>
          </ac:spMkLst>
        </pc:spChg>
        <pc:spChg chg="del">
          <ac:chgData name="Nitish Kumar" userId="dd67aa8a-8cf6-4186-8ec6-f4690f9005b2" providerId="ADAL" clId="{C6D4F506-5911-4DE7-B986-0013CD5AFD26}" dt="2024-05-27T01:28:47.923" v="4606" actId="478"/>
          <ac:spMkLst>
            <pc:docMk/>
            <pc:sldMk cId="3011026662" sldId="2145707067"/>
            <ac:spMk id="11" creationId="{7DCA8F97-85C5-6983-5F46-9B44C7CF05EC}"/>
          </ac:spMkLst>
        </pc:spChg>
        <pc:spChg chg="add mod ord">
          <ac:chgData name="Nitish Kumar" userId="dd67aa8a-8cf6-4186-8ec6-f4690f9005b2" providerId="ADAL" clId="{C6D4F506-5911-4DE7-B986-0013CD5AFD26}" dt="2024-05-27T02:15:09.782" v="5691"/>
          <ac:spMkLst>
            <pc:docMk/>
            <pc:sldMk cId="3011026662" sldId="2145707067"/>
            <ac:spMk id="12" creationId="{AD2F5F02-4E0E-2AD6-D465-2D4E70BCAC6A}"/>
          </ac:spMkLst>
        </pc:spChg>
        <pc:spChg chg="add mod ord">
          <ac:chgData name="Nitish Kumar" userId="dd67aa8a-8cf6-4186-8ec6-f4690f9005b2" providerId="ADAL" clId="{C6D4F506-5911-4DE7-B986-0013CD5AFD26}" dt="2024-05-27T02:15:09.782" v="5693"/>
          <ac:spMkLst>
            <pc:docMk/>
            <pc:sldMk cId="3011026662" sldId="2145707067"/>
            <ac:spMk id="13" creationId="{E377DA0B-A7F9-B232-4E3E-759A8889529C}"/>
          </ac:spMkLst>
        </pc:spChg>
        <pc:spChg chg="add mod ord">
          <ac:chgData name="Nitish Kumar" userId="dd67aa8a-8cf6-4186-8ec6-f4690f9005b2" providerId="ADAL" clId="{C6D4F506-5911-4DE7-B986-0013CD5AFD26}" dt="2024-05-27T02:15:09.782" v="5695"/>
          <ac:spMkLst>
            <pc:docMk/>
            <pc:sldMk cId="3011026662" sldId="2145707067"/>
            <ac:spMk id="14" creationId="{7D004BC9-9FDD-FEAD-7622-200034D6CEC0}"/>
          </ac:spMkLst>
        </pc:spChg>
        <pc:spChg chg="add del mod">
          <ac:chgData name="Nitish Kumar" userId="dd67aa8a-8cf6-4186-8ec6-f4690f9005b2" providerId="ADAL" clId="{C6D4F506-5911-4DE7-B986-0013CD5AFD26}" dt="2024-05-27T02:09:18.986" v="5499" actId="478"/>
          <ac:spMkLst>
            <pc:docMk/>
            <pc:sldMk cId="3011026662" sldId="2145707067"/>
            <ac:spMk id="17" creationId="{DAE40C91-BC5C-3E15-C58A-857D7A444275}"/>
          </ac:spMkLst>
        </pc:spChg>
        <pc:spChg chg="add del mod">
          <ac:chgData name="Nitish Kumar" userId="dd67aa8a-8cf6-4186-8ec6-f4690f9005b2" providerId="ADAL" clId="{C6D4F506-5911-4DE7-B986-0013CD5AFD26}" dt="2024-05-27T02:09:16.921" v="5498" actId="478"/>
          <ac:spMkLst>
            <pc:docMk/>
            <pc:sldMk cId="3011026662" sldId="2145707067"/>
            <ac:spMk id="18" creationId="{FAD01C5F-78C3-1033-E5D6-3A19A3281B0E}"/>
          </ac:spMkLst>
        </pc:spChg>
        <pc:spChg chg="add mod ord">
          <ac:chgData name="Nitish Kumar" userId="dd67aa8a-8cf6-4186-8ec6-f4690f9005b2" providerId="ADAL" clId="{C6D4F506-5911-4DE7-B986-0013CD5AFD26}" dt="2024-05-27T03:48:59.209" v="5741" actId="1076"/>
          <ac:spMkLst>
            <pc:docMk/>
            <pc:sldMk cId="3011026662" sldId="2145707067"/>
            <ac:spMk id="19" creationId="{CC53AD3B-9DB6-58FC-A26F-594D334CCC9C}"/>
          </ac:spMkLst>
        </pc:spChg>
        <pc:spChg chg="add mod ord">
          <ac:chgData name="Nitish Kumar" userId="dd67aa8a-8cf6-4186-8ec6-f4690f9005b2" providerId="ADAL" clId="{C6D4F506-5911-4DE7-B986-0013CD5AFD26}" dt="2024-05-27T03:48:25.216" v="5740" actId="6549"/>
          <ac:spMkLst>
            <pc:docMk/>
            <pc:sldMk cId="3011026662" sldId="2145707067"/>
            <ac:spMk id="20" creationId="{AC2BDF10-640D-4A5D-C063-EBD0A54D9990}"/>
          </ac:spMkLst>
        </pc:spChg>
        <pc:spChg chg="add mod ord">
          <ac:chgData name="Nitish Kumar" userId="dd67aa8a-8cf6-4186-8ec6-f4690f9005b2" providerId="ADAL" clId="{C6D4F506-5911-4DE7-B986-0013CD5AFD26}" dt="2024-05-27T02:15:09.797" v="5703"/>
          <ac:spMkLst>
            <pc:docMk/>
            <pc:sldMk cId="3011026662" sldId="2145707067"/>
            <ac:spMk id="21" creationId="{8F0D3436-276F-DFCD-CDF8-E1681CF6DF3C}"/>
          </ac:spMkLst>
        </pc:spChg>
        <pc:spChg chg="add mod ord">
          <ac:chgData name="Nitish Kumar" userId="dd67aa8a-8cf6-4186-8ec6-f4690f9005b2" providerId="ADAL" clId="{C6D4F506-5911-4DE7-B986-0013CD5AFD26}" dt="2024-05-27T02:15:09.798" v="5705"/>
          <ac:spMkLst>
            <pc:docMk/>
            <pc:sldMk cId="3011026662" sldId="2145707067"/>
            <ac:spMk id="22" creationId="{6DDAD1DF-7C93-E618-6566-7E7D47934F9D}"/>
          </ac:spMkLst>
        </pc:spChg>
        <pc:spChg chg="add mod ord">
          <ac:chgData name="Nitish Kumar" userId="dd67aa8a-8cf6-4186-8ec6-f4690f9005b2" providerId="ADAL" clId="{C6D4F506-5911-4DE7-B986-0013CD5AFD26}" dt="2024-05-27T02:15:09.798" v="5707"/>
          <ac:spMkLst>
            <pc:docMk/>
            <pc:sldMk cId="3011026662" sldId="2145707067"/>
            <ac:spMk id="23" creationId="{675DB798-8EAD-9895-F811-A11615B26314}"/>
          </ac:spMkLst>
        </pc:spChg>
        <pc:spChg chg="add mod ord">
          <ac:chgData name="Nitish Kumar" userId="dd67aa8a-8cf6-4186-8ec6-f4690f9005b2" providerId="ADAL" clId="{C6D4F506-5911-4DE7-B986-0013CD5AFD26}" dt="2024-05-27T02:15:09.798" v="5709"/>
          <ac:spMkLst>
            <pc:docMk/>
            <pc:sldMk cId="3011026662" sldId="2145707067"/>
            <ac:spMk id="24" creationId="{EE8920FC-5AC1-18BB-80AB-FEE0196877AD}"/>
          </ac:spMkLst>
        </pc:spChg>
        <pc:spChg chg="add del mod">
          <ac:chgData name="Nitish Kumar" userId="dd67aa8a-8cf6-4186-8ec6-f4690f9005b2" providerId="ADAL" clId="{C6D4F506-5911-4DE7-B986-0013CD5AFD26}" dt="2024-05-27T02:13:11.047" v="5539" actId="478"/>
          <ac:spMkLst>
            <pc:docMk/>
            <pc:sldMk cId="3011026662" sldId="2145707067"/>
            <ac:spMk id="25" creationId="{E1F39251-E9A7-2629-A619-6BEC6F172138}"/>
          </ac:spMkLst>
        </pc:spChg>
        <pc:spChg chg="add mod ord">
          <ac:chgData name="Nitish Kumar" userId="dd67aa8a-8cf6-4186-8ec6-f4690f9005b2" providerId="ADAL" clId="{C6D4F506-5911-4DE7-B986-0013CD5AFD26}" dt="2024-05-27T03:45:56.748" v="5721" actId="1076"/>
          <ac:spMkLst>
            <pc:docMk/>
            <pc:sldMk cId="3011026662" sldId="2145707067"/>
            <ac:spMk id="26" creationId="{CF88BD98-90FC-F1A9-B987-FCB27DAA16B8}"/>
          </ac:spMkLst>
        </pc:spChg>
        <pc:spChg chg="add mod ord">
          <ac:chgData name="Nitish Kumar" userId="dd67aa8a-8cf6-4186-8ec6-f4690f9005b2" providerId="ADAL" clId="{C6D4F506-5911-4DE7-B986-0013CD5AFD26}" dt="2024-05-27T02:15:09.798" v="5713"/>
          <ac:spMkLst>
            <pc:docMk/>
            <pc:sldMk cId="3011026662" sldId="2145707067"/>
            <ac:spMk id="29" creationId="{BB82D3DE-ABBE-9253-570F-7005F9817BF0}"/>
          </ac:spMkLst>
        </pc:spChg>
        <pc:spChg chg="add mod ord">
          <ac:chgData name="Nitish Kumar" userId="dd67aa8a-8cf6-4186-8ec6-f4690f9005b2" providerId="ADAL" clId="{C6D4F506-5911-4DE7-B986-0013CD5AFD26}" dt="2024-05-27T02:15:09.798" v="5715"/>
          <ac:spMkLst>
            <pc:docMk/>
            <pc:sldMk cId="3011026662" sldId="2145707067"/>
            <ac:spMk id="41" creationId="{E2683FB0-F579-83C3-22FC-3F6C865CDA82}"/>
          </ac:spMkLst>
        </pc:spChg>
        <pc:graphicFrameChg chg="add mod ord">
          <ac:chgData name="Nitish Kumar" userId="dd67aa8a-8cf6-4186-8ec6-f4690f9005b2" providerId="ADAL" clId="{C6D4F506-5911-4DE7-B986-0013CD5AFD26}" dt="2024-05-27T02:15:09.782" v="5697"/>
          <ac:graphicFrameMkLst>
            <pc:docMk/>
            <pc:sldMk cId="3011026662" sldId="2145707067"/>
            <ac:graphicFrameMk id="15" creationId="{065E68BF-CEF9-6C75-B2B8-652CEC8A13E4}"/>
          </ac:graphicFrameMkLst>
        </pc:graphicFrameChg>
        <pc:graphicFrameChg chg="add mod ord modVis replST">
          <ac:chgData name="Nitish Kumar" userId="dd67aa8a-8cf6-4186-8ec6-f4690f9005b2" providerId="ADAL" clId="{C6D4F506-5911-4DE7-B986-0013CD5AFD26}" dt="2024-05-27T02:15:09.798" v="5719"/>
          <ac:graphicFrameMkLst>
            <pc:docMk/>
            <pc:sldMk cId="3011026662" sldId="2145707067"/>
            <ac:graphicFrameMk id="42" creationId="{96E53230-AC18-D70F-1096-A32D1BC84516}"/>
          </ac:graphicFrameMkLst>
        </pc:graphicFrameChg>
        <pc:picChg chg="add mod ord">
          <ac:chgData name="Nitish Kumar" userId="dd67aa8a-8cf6-4186-8ec6-f4690f9005b2" providerId="ADAL" clId="{C6D4F506-5911-4DE7-B986-0013CD5AFD26}" dt="2024-05-27T02:15:09.782" v="5683"/>
          <ac:picMkLst>
            <pc:docMk/>
            <pc:sldMk cId="3011026662" sldId="2145707067"/>
            <ac:picMk id="16" creationId="{EA04B9D5-BC24-4C2C-A4BA-6FFFA08B0267}"/>
          </ac:picMkLst>
        </pc:picChg>
        <pc:cxnChg chg="add mod ord">
          <ac:chgData name="Nitish Kumar" userId="dd67aa8a-8cf6-4186-8ec6-f4690f9005b2" providerId="ADAL" clId="{C6D4F506-5911-4DE7-B986-0013CD5AFD26}" dt="2024-05-27T02:15:09.782" v="5687"/>
          <ac:cxnSpMkLst>
            <pc:docMk/>
            <pc:sldMk cId="3011026662" sldId="2145707067"/>
            <ac:cxnSpMk id="28" creationId="{B2353713-BEA4-D531-4A6F-D1A0F74BCB66}"/>
          </ac:cxnSpMkLst>
        </pc:cxnChg>
        <pc:cxnChg chg="add mod ord">
          <ac:chgData name="Nitish Kumar" userId="dd67aa8a-8cf6-4186-8ec6-f4690f9005b2" providerId="ADAL" clId="{C6D4F506-5911-4DE7-B986-0013CD5AFD26}" dt="2024-05-27T02:15:09.782" v="5685"/>
          <ac:cxnSpMkLst>
            <pc:docMk/>
            <pc:sldMk cId="3011026662" sldId="2145707067"/>
            <ac:cxnSpMk id="30" creationId="{EBFED0C9-7A42-DC3E-21A0-1FE5D5925553}"/>
          </ac:cxnSpMkLst>
        </pc:cxnChg>
        <pc:cxnChg chg="add mod ord">
          <ac:chgData name="Nitish Kumar" userId="dd67aa8a-8cf6-4186-8ec6-f4690f9005b2" providerId="ADAL" clId="{C6D4F506-5911-4DE7-B986-0013CD5AFD26}" dt="2024-05-27T03:45:51.663" v="5720" actId="14100"/>
          <ac:cxnSpMkLst>
            <pc:docMk/>
            <pc:sldMk cId="3011026662" sldId="2145707067"/>
            <ac:cxnSpMk id="31" creationId="{AD8A3705-BA5F-5EE9-D3AD-43E5DC068C89}"/>
          </ac:cxnSpMkLst>
        </pc:cxnChg>
      </pc:sldChg>
      <pc:sldChg chg="addSp delSp modSp new add del mod">
        <pc:chgData name="Nitish Kumar" userId="dd67aa8a-8cf6-4186-8ec6-f4690f9005b2" providerId="ADAL" clId="{C6D4F506-5911-4DE7-B986-0013CD5AFD26}" dt="2024-05-27T05:39:11.168" v="6774" actId="47"/>
        <pc:sldMkLst>
          <pc:docMk/>
          <pc:sldMk cId="6609928" sldId="2145707068"/>
        </pc:sldMkLst>
        <pc:spChg chg="del">
          <ac:chgData name="Nitish Kumar" userId="dd67aa8a-8cf6-4186-8ec6-f4690f9005b2" providerId="ADAL" clId="{C6D4F506-5911-4DE7-B986-0013CD5AFD26}" dt="2024-05-27T04:38:09.454" v="5760" actId="478"/>
          <ac:spMkLst>
            <pc:docMk/>
            <pc:sldMk cId="6609928" sldId="2145707068"/>
            <ac:spMk id="2" creationId="{AACC78F6-BEE4-AEBF-8BD9-0E7B8DD55255}"/>
          </ac:spMkLst>
        </pc:spChg>
        <pc:spChg chg="del">
          <ac:chgData name="Nitish Kumar" userId="dd67aa8a-8cf6-4186-8ec6-f4690f9005b2" providerId="ADAL" clId="{C6D4F506-5911-4DE7-B986-0013CD5AFD26}" dt="2024-05-27T04:38:09.454" v="5760" actId="478"/>
          <ac:spMkLst>
            <pc:docMk/>
            <pc:sldMk cId="6609928" sldId="2145707068"/>
            <ac:spMk id="3" creationId="{86704F68-1519-8468-06A0-DB2EBFBACC93}"/>
          </ac:spMkLst>
        </pc:spChg>
        <pc:spChg chg="del">
          <ac:chgData name="Nitish Kumar" userId="dd67aa8a-8cf6-4186-8ec6-f4690f9005b2" providerId="ADAL" clId="{C6D4F506-5911-4DE7-B986-0013CD5AFD26}" dt="2024-05-27T04:38:09.454" v="5760" actId="478"/>
          <ac:spMkLst>
            <pc:docMk/>
            <pc:sldMk cId="6609928" sldId="2145707068"/>
            <ac:spMk id="4" creationId="{FA3F925A-0187-495A-217C-1A438635FDD3}"/>
          </ac:spMkLst>
        </pc:spChg>
        <pc:spChg chg="del">
          <ac:chgData name="Nitish Kumar" userId="dd67aa8a-8cf6-4186-8ec6-f4690f9005b2" providerId="ADAL" clId="{C6D4F506-5911-4DE7-B986-0013CD5AFD26}" dt="2024-05-27T04:38:09.454" v="5760" actId="478"/>
          <ac:spMkLst>
            <pc:docMk/>
            <pc:sldMk cId="6609928" sldId="2145707068"/>
            <ac:spMk id="5" creationId="{76ADF440-FF05-BD51-F0CC-059E7CD21B1D}"/>
          </ac:spMkLst>
        </pc:spChg>
        <pc:spChg chg="del">
          <ac:chgData name="Nitish Kumar" userId="dd67aa8a-8cf6-4186-8ec6-f4690f9005b2" providerId="ADAL" clId="{C6D4F506-5911-4DE7-B986-0013CD5AFD26}" dt="2024-05-27T04:38:09.454" v="5760" actId="478"/>
          <ac:spMkLst>
            <pc:docMk/>
            <pc:sldMk cId="6609928" sldId="2145707068"/>
            <ac:spMk id="6" creationId="{85F0EFEF-3FE3-A2E9-31DD-A93DF319F920}"/>
          </ac:spMkLst>
        </pc:spChg>
        <pc:spChg chg="del">
          <ac:chgData name="Nitish Kumar" userId="dd67aa8a-8cf6-4186-8ec6-f4690f9005b2" providerId="ADAL" clId="{C6D4F506-5911-4DE7-B986-0013CD5AFD26}" dt="2024-05-27T04:38:09.454" v="5760" actId="478"/>
          <ac:spMkLst>
            <pc:docMk/>
            <pc:sldMk cId="6609928" sldId="2145707068"/>
            <ac:spMk id="7" creationId="{C5895619-AAC4-E5CD-75D5-FA1FB18960FD}"/>
          </ac:spMkLst>
        </pc:spChg>
        <pc:spChg chg="del">
          <ac:chgData name="Nitish Kumar" userId="dd67aa8a-8cf6-4186-8ec6-f4690f9005b2" providerId="ADAL" clId="{C6D4F506-5911-4DE7-B986-0013CD5AFD26}" dt="2024-05-27T04:38:09.454" v="5760" actId="478"/>
          <ac:spMkLst>
            <pc:docMk/>
            <pc:sldMk cId="6609928" sldId="2145707068"/>
            <ac:spMk id="8" creationId="{0507FFED-BE3E-0B39-879A-F4D53100D622}"/>
          </ac:spMkLst>
        </pc:spChg>
        <pc:spChg chg="del">
          <ac:chgData name="Nitish Kumar" userId="dd67aa8a-8cf6-4186-8ec6-f4690f9005b2" providerId="ADAL" clId="{C6D4F506-5911-4DE7-B986-0013CD5AFD26}" dt="2024-05-27T04:38:09.454" v="5760" actId="478"/>
          <ac:spMkLst>
            <pc:docMk/>
            <pc:sldMk cId="6609928" sldId="2145707068"/>
            <ac:spMk id="9" creationId="{27AB125C-AD7C-D3AF-FA5C-822FD6035ABC}"/>
          </ac:spMkLst>
        </pc:spChg>
        <pc:spChg chg="del">
          <ac:chgData name="Nitish Kumar" userId="dd67aa8a-8cf6-4186-8ec6-f4690f9005b2" providerId="ADAL" clId="{C6D4F506-5911-4DE7-B986-0013CD5AFD26}" dt="2024-05-27T04:38:09.454" v="5760" actId="478"/>
          <ac:spMkLst>
            <pc:docMk/>
            <pc:sldMk cId="6609928" sldId="2145707068"/>
            <ac:spMk id="10" creationId="{649DEF23-ADCC-719C-C1F7-3C1F7F90B15A}"/>
          </ac:spMkLst>
        </pc:spChg>
        <pc:spChg chg="del">
          <ac:chgData name="Nitish Kumar" userId="dd67aa8a-8cf6-4186-8ec6-f4690f9005b2" providerId="ADAL" clId="{C6D4F506-5911-4DE7-B986-0013CD5AFD26}" dt="2024-05-27T04:38:09.454" v="5760" actId="478"/>
          <ac:spMkLst>
            <pc:docMk/>
            <pc:sldMk cId="6609928" sldId="2145707068"/>
            <ac:spMk id="11" creationId="{54278C06-BF59-698A-1023-45317F915DC1}"/>
          </ac:spMkLst>
        </pc:spChg>
        <pc:spChg chg="add del mod">
          <ac:chgData name="Nitish Kumar" userId="dd67aa8a-8cf6-4186-8ec6-f4690f9005b2" providerId="ADAL" clId="{C6D4F506-5911-4DE7-B986-0013CD5AFD26}" dt="2024-05-27T04:39:22.637" v="5778" actId="478"/>
          <ac:spMkLst>
            <pc:docMk/>
            <pc:sldMk cId="6609928" sldId="2145707068"/>
            <ac:spMk id="16" creationId="{C71E7573-1BF6-10E0-3781-EF6AA9D454EE}"/>
          </ac:spMkLst>
        </pc:spChg>
        <pc:spChg chg="add del mod">
          <ac:chgData name="Nitish Kumar" userId="dd67aa8a-8cf6-4186-8ec6-f4690f9005b2" providerId="ADAL" clId="{C6D4F506-5911-4DE7-B986-0013CD5AFD26}" dt="2024-05-27T04:39:22.637" v="5778" actId="478"/>
          <ac:spMkLst>
            <pc:docMk/>
            <pc:sldMk cId="6609928" sldId="2145707068"/>
            <ac:spMk id="17" creationId="{4DDDCB30-0C69-25F3-A4BD-4A0EA843E90A}"/>
          </ac:spMkLst>
        </pc:spChg>
        <pc:spChg chg="add del mod">
          <ac:chgData name="Nitish Kumar" userId="dd67aa8a-8cf6-4186-8ec6-f4690f9005b2" providerId="ADAL" clId="{C6D4F506-5911-4DE7-B986-0013CD5AFD26}" dt="2024-05-27T04:39:14.133" v="5777" actId="478"/>
          <ac:spMkLst>
            <pc:docMk/>
            <pc:sldMk cId="6609928" sldId="2145707068"/>
            <ac:spMk id="19" creationId="{15C94C7E-ECCC-44C8-5A59-466A553D3FFA}"/>
          </ac:spMkLst>
        </pc:spChg>
        <pc:spChg chg="add del mod">
          <ac:chgData name="Nitish Kumar" userId="dd67aa8a-8cf6-4186-8ec6-f4690f9005b2" providerId="ADAL" clId="{C6D4F506-5911-4DE7-B986-0013CD5AFD26}" dt="2024-05-27T04:44:40.766" v="5853" actId="14100"/>
          <ac:spMkLst>
            <pc:docMk/>
            <pc:sldMk cId="6609928" sldId="2145707068"/>
            <ac:spMk id="20" creationId="{313AA6FC-EABF-38AC-EF03-AE624B7D6270}"/>
          </ac:spMkLst>
        </pc:spChg>
        <pc:spChg chg="add del mod">
          <ac:chgData name="Nitish Kumar" userId="dd67aa8a-8cf6-4186-8ec6-f4690f9005b2" providerId="ADAL" clId="{C6D4F506-5911-4DE7-B986-0013CD5AFD26}" dt="2024-05-27T04:44:40.766" v="5853" actId="14100"/>
          <ac:spMkLst>
            <pc:docMk/>
            <pc:sldMk cId="6609928" sldId="2145707068"/>
            <ac:spMk id="21" creationId="{4CE74986-1D19-87BA-7F01-8C592EA669A9}"/>
          </ac:spMkLst>
        </pc:spChg>
        <pc:spChg chg="add del mod">
          <ac:chgData name="Nitish Kumar" userId="dd67aa8a-8cf6-4186-8ec6-f4690f9005b2" providerId="ADAL" clId="{C6D4F506-5911-4DE7-B986-0013CD5AFD26}" dt="2024-05-27T04:44:40.766" v="5853" actId="14100"/>
          <ac:spMkLst>
            <pc:docMk/>
            <pc:sldMk cId="6609928" sldId="2145707068"/>
            <ac:spMk id="22" creationId="{5FB347EF-C44F-4456-19F5-A929206A9C83}"/>
          </ac:spMkLst>
        </pc:spChg>
        <pc:spChg chg="add del mod">
          <ac:chgData name="Nitish Kumar" userId="dd67aa8a-8cf6-4186-8ec6-f4690f9005b2" providerId="ADAL" clId="{C6D4F506-5911-4DE7-B986-0013CD5AFD26}" dt="2024-05-27T04:44:40.766" v="5853" actId="14100"/>
          <ac:spMkLst>
            <pc:docMk/>
            <pc:sldMk cId="6609928" sldId="2145707068"/>
            <ac:spMk id="23" creationId="{2A0F6BAB-14F6-C04F-2AD7-D8922AA6B4C3}"/>
          </ac:spMkLst>
        </pc:spChg>
        <pc:spChg chg="add del mod">
          <ac:chgData name="Nitish Kumar" userId="dd67aa8a-8cf6-4186-8ec6-f4690f9005b2" providerId="ADAL" clId="{C6D4F506-5911-4DE7-B986-0013CD5AFD26}" dt="2024-05-27T04:44:40.766" v="5853" actId="14100"/>
          <ac:spMkLst>
            <pc:docMk/>
            <pc:sldMk cId="6609928" sldId="2145707068"/>
            <ac:spMk id="24" creationId="{BD1254FC-611E-407D-3638-A78766CB4BE0}"/>
          </ac:spMkLst>
        </pc:spChg>
        <pc:spChg chg="add del mod">
          <ac:chgData name="Nitish Kumar" userId="dd67aa8a-8cf6-4186-8ec6-f4690f9005b2" providerId="ADAL" clId="{C6D4F506-5911-4DE7-B986-0013CD5AFD26}" dt="2024-05-27T04:44:40.766" v="5853" actId="14100"/>
          <ac:spMkLst>
            <pc:docMk/>
            <pc:sldMk cId="6609928" sldId="2145707068"/>
            <ac:spMk id="25" creationId="{E0807130-B7A7-3223-16C2-9634A2D726A8}"/>
          </ac:spMkLst>
        </pc:spChg>
        <pc:spChg chg="add del mod">
          <ac:chgData name="Nitish Kumar" userId="dd67aa8a-8cf6-4186-8ec6-f4690f9005b2" providerId="ADAL" clId="{C6D4F506-5911-4DE7-B986-0013CD5AFD26}" dt="2024-05-27T04:44:40.766" v="5853" actId="14100"/>
          <ac:spMkLst>
            <pc:docMk/>
            <pc:sldMk cId="6609928" sldId="2145707068"/>
            <ac:spMk id="26" creationId="{903E8AED-4312-3CE3-E8F3-AFBB46AA08EB}"/>
          </ac:spMkLst>
        </pc:spChg>
        <pc:spChg chg="add del mod">
          <ac:chgData name="Nitish Kumar" userId="dd67aa8a-8cf6-4186-8ec6-f4690f9005b2" providerId="ADAL" clId="{C6D4F506-5911-4DE7-B986-0013CD5AFD26}" dt="2024-05-27T04:39:11.431" v="5776" actId="478"/>
          <ac:spMkLst>
            <pc:docMk/>
            <pc:sldMk cId="6609928" sldId="2145707068"/>
            <ac:spMk id="27" creationId="{912E3BBD-959A-86F7-7715-71C32870DFD3}"/>
          </ac:spMkLst>
        </pc:spChg>
        <pc:graphicFrameChg chg="add del mod">
          <ac:chgData name="Nitish Kumar" userId="dd67aa8a-8cf6-4186-8ec6-f4690f9005b2" providerId="ADAL" clId="{C6D4F506-5911-4DE7-B986-0013CD5AFD26}" dt="2024-05-27T04:39:09.541" v="5775" actId="478"/>
          <ac:graphicFrameMkLst>
            <pc:docMk/>
            <pc:sldMk cId="6609928" sldId="2145707068"/>
            <ac:graphicFrameMk id="18" creationId="{45F362B1-8514-57E3-10A0-790AFBD1F17C}"/>
          </ac:graphicFrameMkLst>
        </pc:graphicFrameChg>
        <pc:picChg chg="add del mod">
          <ac:chgData name="Nitish Kumar" userId="dd67aa8a-8cf6-4186-8ec6-f4690f9005b2" providerId="ADAL" clId="{C6D4F506-5911-4DE7-B986-0013CD5AFD26}" dt="2024-05-27T04:44:40.766" v="5853" actId="14100"/>
          <ac:picMkLst>
            <pc:docMk/>
            <pc:sldMk cId="6609928" sldId="2145707068"/>
            <ac:picMk id="12" creationId="{CFD3272D-971B-DC45-CFE7-A7F8FB077157}"/>
          </ac:picMkLst>
        </pc:picChg>
        <pc:cxnChg chg="add del mod">
          <ac:chgData name="Nitish Kumar" userId="dd67aa8a-8cf6-4186-8ec6-f4690f9005b2" providerId="ADAL" clId="{C6D4F506-5911-4DE7-B986-0013CD5AFD26}" dt="2024-05-27T04:44:40.766" v="5853" actId="14100"/>
          <ac:cxnSpMkLst>
            <pc:docMk/>
            <pc:sldMk cId="6609928" sldId="2145707068"/>
            <ac:cxnSpMk id="13" creationId="{40D8A58A-789D-469D-8CA2-8889BAB2A0DD}"/>
          </ac:cxnSpMkLst>
        </pc:cxnChg>
        <pc:cxnChg chg="add del mod">
          <ac:chgData name="Nitish Kumar" userId="dd67aa8a-8cf6-4186-8ec6-f4690f9005b2" providerId="ADAL" clId="{C6D4F506-5911-4DE7-B986-0013CD5AFD26}" dt="2024-05-27T04:44:40.766" v="5853" actId="14100"/>
          <ac:cxnSpMkLst>
            <pc:docMk/>
            <pc:sldMk cId="6609928" sldId="2145707068"/>
            <ac:cxnSpMk id="14" creationId="{B2A677E0-C5A0-3BA5-1186-06F74BB14CBC}"/>
          </ac:cxnSpMkLst>
        </pc:cxnChg>
        <pc:cxnChg chg="add del mod">
          <ac:chgData name="Nitish Kumar" userId="dd67aa8a-8cf6-4186-8ec6-f4690f9005b2" providerId="ADAL" clId="{C6D4F506-5911-4DE7-B986-0013CD5AFD26}" dt="2024-05-27T04:44:40.766" v="5853" actId="14100"/>
          <ac:cxnSpMkLst>
            <pc:docMk/>
            <pc:sldMk cId="6609928" sldId="2145707068"/>
            <ac:cxnSpMk id="15" creationId="{948B0565-2FEF-3241-4BCE-A341573C8D3F}"/>
          </ac:cxnSpMkLst>
        </pc:cxnChg>
      </pc:sldChg>
      <pc:sldChg chg="addSp delSp modSp new add del mod">
        <pc:chgData name="Nitish Kumar" userId="dd67aa8a-8cf6-4186-8ec6-f4690f9005b2" providerId="ADAL" clId="{C6D4F506-5911-4DE7-B986-0013CD5AFD26}" dt="2024-05-27T05:39:05.925" v="6772" actId="47"/>
        <pc:sldMkLst>
          <pc:docMk/>
          <pc:sldMk cId="3591144881" sldId="2145707069"/>
        </pc:sldMkLst>
        <pc:spChg chg="del">
          <ac:chgData name="Nitish Kumar" userId="dd67aa8a-8cf6-4186-8ec6-f4690f9005b2" providerId="ADAL" clId="{C6D4F506-5911-4DE7-B986-0013CD5AFD26}" dt="2024-05-27T04:48:00.048" v="5879" actId="478"/>
          <ac:spMkLst>
            <pc:docMk/>
            <pc:sldMk cId="3591144881" sldId="2145707069"/>
            <ac:spMk id="2" creationId="{711CDBFB-1ABD-200B-B875-3CDDB0EE7979}"/>
          </ac:spMkLst>
        </pc:spChg>
        <pc:spChg chg="del">
          <ac:chgData name="Nitish Kumar" userId="dd67aa8a-8cf6-4186-8ec6-f4690f9005b2" providerId="ADAL" clId="{C6D4F506-5911-4DE7-B986-0013CD5AFD26}" dt="2024-05-27T04:48:00.048" v="5879" actId="478"/>
          <ac:spMkLst>
            <pc:docMk/>
            <pc:sldMk cId="3591144881" sldId="2145707069"/>
            <ac:spMk id="3" creationId="{FE049D62-664D-053F-D29C-32537BE96CFE}"/>
          </ac:spMkLst>
        </pc:spChg>
        <pc:spChg chg="del">
          <ac:chgData name="Nitish Kumar" userId="dd67aa8a-8cf6-4186-8ec6-f4690f9005b2" providerId="ADAL" clId="{C6D4F506-5911-4DE7-B986-0013CD5AFD26}" dt="2024-05-27T04:48:00.048" v="5879" actId="478"/>
          <ac:spMkLst>
            <pc:docMk/>
            <pc:sldMk cId="3591144881" sldId="2145707069"/>
            <ac:spMk id="4" creationId="{E2C9B949-60BC-CC6C-E6EB-F2C1A9ED4033}"/>
          </ac:spMkLst>
        </pc:spChg>
        <pc:spChg chg="del">
          <ac:chgData name="Nitish Kumar" userId="dd67aa8a-8cf6-4186-8ec6-f4690f9005b2" providerId="ADAL" clId="{C6D4F506-5911-4DE7-B986-0013CD5AFD26}" dt="2024-05-27T04:48:00.048" v="5879" actId="478"/>
          <ac:spMkLst>
            <pc:docMk/>
            <pc:sldMk cId="3591144881" sldId="2145707069"/>
            <ac:spMk id="5" creationId="{80EC1BA1-4B72-A10A-5F8D-2E159F56E34C}"/>
          </ac:spMkLst>
        </pc:spChg>
        <pc:spChg chg="del">
          <ac:chgData name="Nitish Kumar" userId="dd67aa8a-8cf6-4186-8ec6-f4690f9005b2" providerId="ADAL" clId="{C6D4F506-5911-4DE7-B986-0013CD5AFD26}" dt="2024-05-27T04:48:00.048" v="5879" actId="478"/>
          <ac:spMkLst>
            <pc:docMk/>
            <pc:sldMk cId="3591144881" sldId="2145707069"/>
            <ac:spMk id="6" creationId="{71E7F1CE-4B6A-1931-14BC-E48FCF239775}"/>
          </ac:spMkLst>
        </pc:spChg>
        <pc:spChg chg="del">
          <ac:chgData name="Nitish Kumar" userId="dd67aa8a-8cf6-4186-8ec6-f4690f9005b2" providerId="ADAL" clId="{C6D4F506-5911-4DE7-B986-0013CD5AFD26}" dt="2024-05-27T04:48:00.048" v="5879" actId="478"/>
          <ac:spMkLst>
            <pc:docMk/>
            <pc:sldMk cId="3591144881" sldId="2145707069"/>
            <ac:spMk id="7" creationId="{E6D72023-6986-D5EF-1E3F-34F60EA32C59}"/>
          </ac:spMkLst>
        </pc:spChg>
        <pc:spChg chg="del">
          <ac:chgData name="Nitish Kumar" userId="dd67aa8a-8cf6-4186-8ec6-f4690f9005b2" providerId="ADAL" clId="{C6D4F506-5911-4DE7-B986-0013CD5AFD26}" dt="2024-05-27T04:48:00.048" v="5879" actId="478"/>
          <ac:spMkLst>
            <pc:docMk/>
            <pc:sldMk cId="3591144881" sldId="2145707069"/>
            <ac:spMk id="8" creationId="{4134675E-BF1B-9D04-63CF-1D6AD41FB302}"/>
          </ac:spMkLst>
        </pc:spChg>
        <pc:spChg chg="del">
          <ac:chgData name="Nitish Kumar" userId="dd67aa8a-8cf6-4186-8ec6-f4690f9005b2" providerId="ADAL" clId="{C6D4F506-5911-4DE7-B986-0013CD5AFD26}" dt="2024-05-27T04:48:00.048" v="5879" actId="478"/>
          <ac:spMkLst>
            <pc:docMk/>
            <pc:sldMk cId="3591144881" sldId="2145707069"/>
            <ac:spMk id="9" creationId="{9EAB6324-145A-8640-5CE1-438FE33709C5}"/>
          </ac:spMkLst>
        </pc:spChg>
        <pc:spChg chg="del">
          <ac:chgData name="Nitish Kumar" userId="dd67aa8a-8cf6-4186-8ec6-f4690f9005b2" providerId="ADAL" clId="{C6D4F506-5911-4DE7-B986-0013CD5AFD26}" dt="2024-05-27T04:48:00.048" v="5879" actId="478"/>
          <ac:spMkLst>
            <pc:docMk/>
            <pc:sldMk cId="3591144881" sldId="2145707069"/>
            <ac:spMk id="10" creationId="{5F1944BF-075E-7770-32F1-02EA42D4DE7B}"/>
          </ac:spMkLst>
        </pc:spChg>
        <pc:spChg chg="del">
          <ac:chgData name="Nitish Kumar" userId="dd67aa8a-8cf6-4186-8ec6-f4690f9005b2" providerId="ADAL" clId="{C6D4F506-5911-4DE7-B986-0013CD5AFD26}" dt="2024-05-27T04:48:00.048" v="5879" actId="478"/>
          <ac:spMkLst>
            <pc:docMk/>
            <pc:sldMk cId="3591144881" sldId="2145707069"/>
            <ac:spMk id="11" creationId="{47C9DA93-1DE7-4269-A88D-AC16F4C5712D}"/>
          </ac:spMkLst>
        </pc:spChg>
        <pc:spChg chg="add mod">
          <ac:chgData name="Nitish Kumar" userId="dd67aa8a-8cf6-4186-8ec6-f4690f9005b2" providerId="ADAL" clId="{C6D4F506-5911-4DE7-B986-0013CD5AFD26}" dt="2024-05-27T05:09:40.410" v="6253" actId="164"/>
          <ac:spMkLst>
            <pc:docMk/>
            <pc:sldMk cId="3591144881" sldId="2145707069"/>
            <ac:spMk id="24" creationId="{C90B03F8-194F-9DFA-8025-DCC88E70349B}"/>
          </ac:spMkLst>
        </pc:spChg>
        <pc:spChg chg="add del mod">
          <ac:chgData name="Nitish Kumar" userId="dd67aa8a-8cf6-4186-8ec6-f4690f9005b2" providerId="ADAL" clId="{C6D4F506-5911-4DE7-B986-0013CD5AFD26}" dt="2024-05-27T04:51:53.059" v="5954"/>
          <ac:spMkLst>
            <pc:docMk/>
            <pc:sldMk cId="3591144881" sldId="2145707069"/>
            <ac:spMk id="25" creationId="{55A3A454-CB91-E553-920F-D4FD6026B79D}"/>
          </ac:spMkLst>
        </pc:spChg>
        <pc:spChg chg="add del mod">
          <ac:chgData name="Nitish Kumar" userId="dd67aa8a-8cf6-4186-8ec6-f4690f9005b2" providerId="ADAL" clId="{C6D4F506-5911-4DE7-B986-0013CD5AFD26}" dt="2024-05-27T04:57:24.381" v="6060" actId="478"/>
          <ac:spMkLst>
            <pc:docMk/>
            <pc:sldMk cId="3591144881" sldId="2145707069"/>
            <ac:spMk id="26" creationId="{F883AD49-01C0-5B91-D98A-2E1AF8E0E231}"/>
          </ac:spMkLst>
        </pc:spChg>
        <pc:spChg chg="add del mod">
          <ac:chgData name="Nitish Kumar" userId="dd67aa8a-8cf6-4186-8ec6-f4690f9005b2" providerId="ADAL" clId="{C6D4F506-5911-4DE7-B986-0013CD5AFD26}" dt="2024-05-27T05:01:36.376" v="6193" actId="478"/>
          <ac:spMkLst>
            <pc:docMk/>
            <pc:sldMk cId="3591144881" sldId="2145707069"/>
            <ac:spMk id="27" creationId="{5F850D62-E4A2-52A1-3585-36B0C9CC83A0}"/>
          </ac:spMkLst>
        </pc:spChg>
        <pc:spChg chg="add del mod">
          <ac:chgData name="Nitish Kumar" userId="dd67aa8a-8cf6-4186-8ec6-f4690f9005b2" providerId="ADAL" clId="{C6D4F506-5911-4DE7-B986-0013CD5AFD26}" dt="2024-05-27T04:59:59.736" v="6123" actId="478"/>
          <ac:spMkLst>
            <pc:docMk/>
            <pc:sldMk cId="3591144881" sldId="2145707069"/>
            <ac:spMk id="28" creationId="{D2C6E5D7-FB1C-8DD6-66F8-B9CD5984AA24}"/>
          </ac:spMkLst>
        </pc:spChg>
        <pc:spChg chg="add del mod">
          <ac:chgData name="Nitish Kumar" userId="dd67aa8a-8cf6-4186-8ec6-f4690f9005b2" providerId="ADAL" clId="{C6D4F506-5911-4DE7-B986-0013CD5AFD26}" dt="2024-05-27T04:59:48.608" v="6118" actId="478"/>
          <ac:spMkLst>
            <pc:docMk/>
            <pc:sldMk cId="3591144881" sldId="2145707069"/>
            <ac:spMk id="29" creationId="{8C164D42-4D20-888B-82C1-A57440D9E009}"/>
          </ac:spMkLst>
        </pc:spChg>
        <pc:spChg chg="add mod">
          <ac:chgData name="Nitish Kumar" userId="dd67aa8a-8cf6-4186-8ec6-f4690f9005b2" providerId="ADAL" clId="{C6D4F506-5911-4DE7-B986-0013CD5AFD26}" dt="2024-05-27T05:12:49.265" v="6265" actId="14100"/>
          <ac:spMkLst>
            <pc:docMk/>
            <pc:sldMk cId="3591144881" sldId="2145707069"/>
            <ac:spMk id="30" creationId="{5C2F4FC6-1769-3A8B-3791-2A6B73D18D41}"/>
          </ac:spMkLst>
        </pc:spChg>
        <pc:spChg chg="add mod">
          <ac:chgData name="Nitish Kumar" userId="dd67aa8a-8cf6-4186-8ec6-f4690f9005b2" providerId="ADAL" clId="{C6D4F506-5911-4DE7-B986-0013CD5AFD26}" dt="2024-05-27T05:12:54.794" v="6266" actId="1076"/>
          <ac:spMkLst>
            <pc:docMk/>
            <pc:sldMk cId="3591144881" sldId="2145707069"/>
            <ac:spMk id="31" creationId="{673AEFF9-12D1-D577-E3A1-BCED0B6F8B8F}"/>
          </ac:spMkLst>
        </pc:spChg>
        <pc:spChg chg="add mod">
          <ac:chgData name="Nitish Kumar" userId="dd67aa8a-8cf6-4186-8ec6-f4690f9005b2" providerId="ADAL" clId="{C6D4F506-5911-4DE7-B986-0013CD5AFD26}" dt="2024-05-27T05:09:40.410" v="6253" actId="164"/>
          <ac:spMkLst>
            <pc:docMk/>
            <pc:sldMk cId="3591144881" sldId="2145707069"/>
            <ac:spMk id="32" creationId="{3A4A9132-C306-E846-EC7A-BCAC21CB8C66}"/>
          </ac:spMkLst>
        </pc:spChg>
        <pc:spChg chg="add mod">
          <ac:chgData name="Nitish Kumar" userId="dd67aa8a-8cf6-4186-8ec6-f4690f9005b2" providerId="ADAL" clId="{C6D4F506-5911-4DE7-B986-0013CD5AFD26}" dt="2024-05-27T05:09:40.410" v="6253" actId="164"/>
          <ac:spMkLst>
            <pc:docMk/>
            <pc:sldMk cId="3591144881" sldId="2145707069"/>
            <ac:spMk id="33" creationId="{B6AF8F62-B2B1-51F7-9F2D-FE3E8AE152C5}"/>
          </ac:spMkLst>
        </pc:spChg>
        <pc:spChg chg="mod topLvl">
          <ac:chgData name="Nitish Kumar" userId="dd67aa8a-8cf6-4186-8ec6-f4690f9005b2" providerId="ADAL" clId="{C6D4F506-5911-4DE7-B986-0013CD5AFD26}" dt="2024-05-27T05:09:21.628" v="6250" actId="338"/>
          <ac:spMkLst>
            <pc:docMk/>
            <pc:sldMk cId="3591144881" sldId="2145707069"/>
            <ac:spMk id="39" creationId="{62099AF1-F76F-DF49-2456-4616CE3524D3}"/>
          </ac:spMkLst>
        </pc:spChg>
        <pc:spChg chg="mod topLvl">
          <ac:chgData name="Nitish Kumar" userId="dd67aa8a-8cf6-4186-8ec6-f4690f9005b2" providerId="ADAL" clId="{C6D4F506-5911-4DE7-B986-0013CD5AFD26}" dt="2024-05-27T05:09:21.628" v="6250" actId="338"/>
          <ac:spMkLst>
            <pc:docMk/>
            <pc:sldMk cId="3591144881" sldId="2145707069"/>
            <ac:spMk id="40" creationId="{84121051-07C1-2828-4472-2622AA095AF8}"/>
          </ac:spMkLst>
        </pc:spChg>
        <pc:spChg chg="mod topLvl">
          <ac:chgData name="Nitish Kumar" userId="dd67aa8a-8cf6-4186-8ec6-f4690f9005b2" providerId="ADAL" clId="{C6D4F506-5911-4DE7-B986-0013CD5AFD26}" dt="2024-05-27T05:09:21.628" v="6250" actId="338"/>
          <ac:spMkLst>
            <pc:docMk/>
            <pc:sldMk cId="3591144881" sldId="2145707069"/>
            <ac:spMk id="41" creationId="{45428489-A3AD-92D3-F38F-B976ED4F6CA9}"/>
          </ac:spMkLst>
        </pc:spChg>
        <pc:spChg chg="mod topLvl">
          <ac:chgData name="Nitish Kumar" userId="dd67aa8a-8cf6-4186-8ec6-f4690f9005b2" providerId="ADAL" clId="{C6D4F506-5911-4DE7-B986-0013CD5AFD26}" dt="2024-05-27T05:09:21.628" v="6250" actId="338"/>
          <ac:spMkLst>
            <pc:docMk/>
            <pc:sldMk cId="3591144881" sldId="2145707069"/>
            <ac:spMk id="42" creationId="{2FA5BEC3-46FE-64B0-C8CA-6ABACC7CAEC8}"/>
          </ac:spMkLst>
        </pc:spChg>
        <pc:spChg chg="mod topLvl">
          <ac:chgData name="Nitish Kumar" userId="dd67aa8a-8cf6-4186-8ec6-f4690f9005b2" providerId="ADAL" clId="{C6D4F506-5911-4DE7-B986-0013CD5AFD26}" dt="2024-05-27T05:09:21.628" v="6250" actId="338"/>
          <ac:spMkLst>
            <pc:docMk/>
            <pc:sldMk cId="3591144881" sldId="2145707069"/>
            <ac:spMk id="43" creationId="{3A004632-A14C-225E-2561-8D1B36E2CFCC}"/>
          </ac:spMkLst>
        </pc:spChg>
        <pc:spChg chg="mod topLvl">
          <ac:chgData name="Nitish Kumar" userId="dd67aa8a-8cf6-4186-8ec6-f4690f9005b2" providerId="ADAL" clId="{C6D4F506-5911-4DE7-B986-0013CD5AFD26}" dt="2024-05-27T05:09:21.628" v="6250" actId="338"/>
          <ac:spMkLst>
            <pc:docMk/>
            <pc:sldMk cId="3591144881" sldId="2145707069"/>
            <ac:spMk id="44" creationId="{0ABBB84E-9EDD-8B11-9C24-23EF46A40E3E}"/>
          </ac:spMkLst>
        </pc:spChg>
        <pc:spChg chg="mod topLvl">
          <ac:chgData name="Nitish Kumar" userId="dd67aa8a-8cf6-4186-8ec6-f4690f9005b2" providerId="ADAL" clId="{C6D4F506-5911-4DE7-B986-0013CD5AFD26}" dt="2024-05-27T05:09:21.628" v="6250" actId="338"/>
          <ac:spMkLst>
            <pc:docMk/>
            <pc:sldMk cId="3591144881" sldId="2145707069"/>
            <ac:spMk id="45" creationId="{068AAD47-3890-7DF9-96FA-9368CCD58354}"/>
          </ac:spMkLst>
        </pc:spChg>
        <pc:spChg chg="mod">
          <ac:chgData name="Nitish Kumar" userId="dd67aa8a-8cf6-4186-8ec6-f4690f9005b2" providerId="ADAL" clId="{C6D4F506-5911-4DE7-B986-0013CD5AFD26}" dt="2024-05-27T05:13:19.194" v="6268"/>
          <ac:spMkLst>
            <pc:docMk/>
            <pc:sldMk cId="3591144881" sldId="2145707069"/>
            <ac:spMk id="63" creationId="{1ABD1B0B-B899-0507-AA40-7190F8207289}"/>
          </ac:spMkLst>
        </pc:spChg>
        <pc:spChg chg="mod">
          <ac:chgData name="Nitish Kumar" userId="dd67aa8a-8cf6-4186-8ec6-f4690f9005b2" providerId="ADAL" clId="{C6D4F506-5911-4DE7-B986-0013CD5AFD26}" dt="2024-05-27T05:13:19.194" v="6268"/>
          <ac:spMkLst>
            <pc:docMk/>
            <pc:sldMk cId="3591144881" sldId="2145707069"/>
            <ac:spMk id="64" creationId="{2F01A5B1-A040-325A-F2A9-8C15D917F07C}"/>
          </ac:spMkLst>
        </pc:spChg>
        <pc:spChg chg="mod">
          <ac:chgData name="Nitish Kumar" userId="dd67aa8a-8cf6-4186-8ec6-f4690f9005b2" providerId="ADAL" clId="{C6D4F506-5911-4DE7-B986-0013CD5AFD26}" dt="2024-05-27T05:13:19.194" v="6268"/>
          <ac:spMkLst>
            <pc:docMk/>
            <pc:sldMk cId="3591144881" sldId="2145707069"/>
            <ac:spMk id="65" creationId="{00B6EF7B-2F72-1A01-B592-F6D3BCF30341}"/>
          </ac:spMkLst>
        </pc:spChg>
        <pc:spChg chg="mod">
          <ac:chgData name="Nitish Kumar" userId="dd67aa8a-8cf6-4186-8ec6-f4690f9005b2" providerId="ADAL" clId="{C6D4F506-5911-4DE7-B986-0013CD5AFD26}" dt="2024-05-27T05:13:19.194" v="6268"/>
          <ac:spMkLst>
            <pc:docMk/>
            <pc:sldMk cId="3591144881" sldId="2145707069"/>
            <ac:spMk id="66" creationId="{E7022501-07F1-A9F7-C6C8-BF2EFFE23929}"/>
          </ac:spMkLst>
        </pc:spChg>
        <pc:spChg chg="mod">
          <ac:chgData name="Nitish Kumar" userId="dd67aa8a-8cf6-4186-8ec6-f4690f9005b2" providerId="ADAL" clId="{C6D4F506-5911-4DE7-B986-0013CD5AFD26}" dt="2024-05-27T05:13:19.194" v="6268"/>
          <ac:spMkLst>
            <pc:docMk/>
            <pc:sldMk cId="3591144881" sldId="2145707069"/>
            <ac:spMk id="67" creationId="{AADF27EC-049D-F6AC-7465-9D2F96EA2003}"/>
          </ac:spMkLst>
        </pc:spChg>
        <pc:spChg chg="mod">
          <ac:chgData name="Nitish Kumar" userId="dd67aa8a-8cf6-4186-8ec6-f4690f9005b2" providerId="ADAL" clId="{C6D4F506-5911-4DE7-B986-0013CD5AFD26}" dt="2024-05-27T05:13:19.194" v="6268"/>
          <ac:spMkLst>
            <pc:docMk/>
            <pc:sldMk cId="3591144881" sldId="2145707069"/>
            <ac:spMk id="68" creationId="{9E922C53-B2FB-CD8F-245D-361F2B58007C}"/>
          </ac:spMkLst>
        </pc:spChg>
        <pc:spChg chg="mod">
          <ac:chgData name="Nitish Kumar" userId="dd67aa8a-8cf6-4186-8ec6-f4690f9005b2" providerId="ADAL" clId="{C6D4F506-5911-4DE7-B986-0013CD5AFD26}" dt="2024-05-27T05:13:19.194" v="6268"/>
          <ac:spMkLst>
            <pc:docMk/>
            <pc:sldMk cId="3591144881" sldId="2145707069"/>
            <ac:spMk id="69" creationId="{C45E9A74-8F90-6130-7C42-E6E4B71E5620}"/>
          </ac:spMkLst>
        </pc:spChg>
        <pc:grpChg chg="add del mod">
          <ac:chgData name="Nitish Kumar" userId="dd67aa8a-8cf6-4186-8ec6-f4690f9005b2" providerId="ADAL" clId="{C6D4F506-5911-4DE7-B986-0013CD5AFD26}" dt="2024-05-27T05:09:13.200" v="6249" actId="165"/>
          <ac:grpSpMkLst>
            <pc:docMk/>
            <pc:sldMk cId="3591144881" sldId="2145707069"/>
            <ac:grpSpMk id="34" creationId="{726927D5-CC8E-4D87-20C1-44E07C3DB3BA}"/>
          </ac:grpSpMkLst>
        </pc:grpChg>
        <pc:grpChg chg="add mod">
          <ac:chgData name="Nitish Kumar" userId="dd67aa8a-8cf6-4186-8ec6-f4690f9005b2" providerId="ADAL" clId="{C6D4F506-5911-4DE7-B986-0013CD5AFD26}" dt="2024-05-27T05:09:40.410" v="6253" actId="164"/>
          <ac:grpSpMkLst>
            <pc:docMk/>
            <pc:sldMk cId="3591144881" sldId="2145707069"/>
            <ac:grpSpMk id="50" creationId="{001AA7A2-86ED-966A-5082-01156AEB9DB5}"/>
          </ac:grpSpMkLst>
        </pc:grpChg>
        <pc:grpChg chg="add del mod">
          <ac:chgData name="Nitish Kumar" userId="dd67aa8a-8cf6-4186-8ec6-f4690f9005b2" providerId="ADAL" clId="{C6D4F506-5911-4DE7-B986-0013CD5AFD26}" dt="2024-05-27T05:13:43.396" v="6274" actId="21"/>
          <ac:grpSpMkLst>
            <pc:docMk/>
            <pc:sldMk cId="3591144881" sldId="2145707069"/>
            <ac:grpSpMk id="56" creationId="{7E37AED8-BB1A-6749-451F-C6016D1B9796}"/>
          </ac:grpSpMkLst>
        </pc:grpChg>
        <pc:grpChg chg="add del mod">
          <ac:chgData name="Nitish Kumar" userId="dd67aa8a-8cf6-4186-8ec6-f4690f9005b2" providerId="ADAL" clId="{C6D4F506-5911-4DE7-B986-0013CD5AFD26}" dt="2024-05-27T05:13:33.875" v="6271" actId="21"/>
          <ac:grpSpMkLst>
            <pc:docMk/>
            <pc:sldMk cId="3591144881" sldId="2145707069"/>
            <ac:grpSpMk id="58" creationId="{2809D0AC-21FB-1292-7F37-8A2FFA6CA3A5}"/>
          </ac:grpSpMkLst>
        </pc:grpChg>
        <pc:picChg chg="mod topLvl">
          <ac:chgData name="Nitish Kumar" userId="dd67aa8a-8cf6-4186-8ec6-f4690f9005b2" providerId="ADAL" clId="{C6D4F506-5911-4DE7-B986-0013CD5AFD26}" dt="2024-05-27T05:09:21.628" v="6250" actId="338"/>
          <ac:picMkLst>
            <pc:docMk/>
            <pc:sldMk cId="3591144881" sldId="2145707069"/>
            <ac:picMk id="35" creationId="{2629B11F-07F2-2A91-E52C-C3B864D6E8D8}"/>
          </ac:picMkLst>
        </pc:picChg>
        <pc:picChg chg="mod">
          <ac:chgData name="Nitish Kumar" userId="dd67aa8a-8cf6-4186-8ec6-f4690f9005b2" providerId="ADAL" clId="{C6D4F506-5911-4DE7-B986-0013CD5AFD26}" dt="2024-05-27T05:13:19.194" v="6268"/>
          <ac:picMkLst>
            <pc:docMk/>
            <pc:sldMk cId="3591144881" sldId="2145707069"/>
            <ac:picMk id="59" creationId="{6B9084C0-9321-68F8-6F70-F49BACF1ACB6}"/>
          </ac:picMkLst>
        </pc:picChg>
        <pc:cxnChg chg="add mod">
          <ac:chgData name="Nitish Kumar" userId="dd67aa8a-8cf6-4186-8ec6-f4690f9005b2" providerId="ADAL" clId="{C6D4F506-5911-4DE7-B986-0013CD5AFD26}" dt="2024-05-27T05:09:40.410" v="6253" actId="164"/>
          <ac:cxnSpMkLst>
            <pc:docMk/>
            <pc:sldMk cId="3591144881" sldId="2145707069"/>
            <ac:cxnSpMk id="13" creationId="{A905EF0F-DC3F-4E19-303D-DD6EDA214DCC}"/>
          </ac:cxnSpMkLst>
        </pc:cxnChg>
        <pc:cxnChg chg="add del mod">
          <ac:chgData name="Nitish Kumar" userId="dd67aa8a-8cf6-4186-8ec6-f4690f9005b2" providerId="ADAL" clId="{C6D4F506-5911-4DE7-B986-0013CD5AFD26}" dt="2024-05-27T04:48:45.524" v="5890" actId="478"/>
          <ac:cxnSpMkLst>
            <pc:docMk/>
            <pc:sldMk cId="3591144881" sldId="2145707069"/>
            <ac:cxnSpMk id="14" creationId="{0C4FD136-1A09-D259-7320-1C27B4B04D01}"/>
          </ac:cxnSpMkLst>
        </pc:cxnChg>
        <pc:cxnChg chg="add del mod">
          <ac:chgData name="Nitish Kumar" userId="dd67aa8a-8cf6-4186-8ec6-f4690f9005b2" providerId="ADAL" clId="{C6D4F506-5911-4DE7-B986-0013CD5AFD26}" dt="2024-05-27T04:48:43.465" v="5889" actId="478"/>
          <ac:cxnSpMkLst>
            <pc:docMk/>
            <pc:sldMk cId="3591144881" sldId="2145707069"/>
            <ac:cxnSpMk id="15" creationId="{5D0D4ECB-31D8-228C-86E7-6C73BD68AF67}"/>
          </ac:cxnSpMkLst>
        </pc:cxnChg>
        <pc:cxnChg chg="add mod">
          <ac:chgData name="Nitish Kumar" userId="dd67aa8a-8cf6-4186-8ec6-f4690f9005b2" providerId="ADAL" clId="{C6D4F506-5911-4DE7-B986-0013CD5AFD26}" dt="2024-05-27T05:09:40.410" v="6253" actId="164"/>
          <ac:cxnSpMkLst>
            <pc:docMk/>
            <pc:sldMk cId="3591144881" sldId="2145707069"/>
            <ac:cxnSpMk id="16" creationId="{107D4059-B497-1B6B-6223-876C0780DD02}"/>
          </ac:cxnSpMkLst>
        </pc:cxnChg>
        <pc:cxnChg chg="add mod">
          <ac:chgData name="Nitish Kumar" userId="dd67aa8a-8cf6-4186-8ec6-f4690f9005b2" providerId="ADAL" clId="{C6D4F506-5911-4DE7-B986-0013CD5AFD26}" dt="2024-05-27T05:09:40.410" v="6253" actId="164"/>
          <ac:cxnSpMkLst>
            <pc:docMk/>
            <pc:sldMk cId="3591144881" sldId="2145707069"/>
            <ac:cxnSpMk id="19" creationId="{03C84E9C-98C1-1685-027F-ABBCAF9ADE89}"/>
          </ac:cxnSpMkLst>
        </pc:cxnChg>
        <pc:cxnChg chg="add mod">
          <ac:chgData name="Nitish Kumar" userId="dd67aa8a-8cf6-4186-8ec6-f4690f9005b2" providerId="ADAL" clId="{C6D4F506-5911-4DE7-B986-0013CD5AFD26}" dt="2024-05-27T05:09:40.410" v="6253" actId="164"/>
          <ac:cxnSpMkLst>
            <pc:docMk/>
            <pc:sldMk cId="3591144881" sldId="2145707069"/>
            <ac:cxnSpMk id="20" creationId="{1F22A52E-651B-564D-84B3-12109D559F27}"/>
          </ac:cxnSpMkLst>
        </pc:cxnChg>
        <pc:cxnChg chg="add mod">
          <ac:chgData name="Nitish Kumar" userId="dd67aa8a-8cf6-4186-8ec6-f4690f9005b2" providerId="ADAL" clId="{C6D4F506-5911-4DE7-B986-0013CD5AFD26}" dt="2024-05-27T05:09:40.410" v="6253" actId="164"/>
          <ac:cxnSpMkLst>
            <pc:docMk/>
            <pc:sldMk cId="3591144881" sldId="2145707069"/>
            <ac:cxnSpMk id="22" creationId="{5BDE4637-D33D-8F7C-CBF6-674CB206B5DC}"/>
          </ac:cxnSpMkLst>
        </pc:cxnChg>
        <pc:cxnChg chg="mod topLvl">
          <ac:chgData name="Nitish Kumar" userId="dd67aa8a-8cf6-4186-8ec6-f4690f9005b2" providerId="ADAL" clId="{C6D4F506-5911-4DE7-B986-0013CD5AFD26}" dt="2024-05-27T05:13:43.396" v="6274" actId="21"/>
          <ac:cxnSpMkLst>
            <pc:docMk/>
            <pc:sldMk cId="3591144881" sldId="2145707069"/>
            <ac:cxnSpMk id="36" creationId="{86D73587-726D-D861-97DE-27BF296D8399}"/>
          </ac:cxnSpMkLst>
        </pc:cxnChg>
        <pc:cxnChg chg="mod topLvl">
          <ac:chgData name="Nitish Kumar" userId="dd67aa8a-8cf6-4186-8ec6-f4690f9005b2" providerId="ADAL" clId="{C6D4F506-5911-4DE7-B986-0013CD5AFD26}" dt="2024-05-27T05:13:43.396" v="6274" actId="21"/>
          <ac:cxnSpMkLst>
            <pc:docMk/>
            <pc:sldMk cId="3591144881" sldId="2145707069"/>
            <ac:cxnSpMk id="37" creationId="{A5C67D14-08B4-81C0-4361-C3AD79FEE92A}"/>
          </ac:cxnSpMkLst>
        </pc:cxnChg>
        <pc:cxnChg chg="mod topLvl">
          <ac:chgData name="Nitish Kumar" userId="dd67aa8a-8cf6-4186-8ec6-f4690f9005b2" providerId="ADAL" clId="{C6D4F506-5911-4DE7-B986-0013CD5AFD26}" dt="2024-05-27T05:13:43.396" v="6274" actId="21"/>
          <ac:cxnSpMkLst>
            <pc:docMk/>
            <pc:sldMk cId="3591144881" sldId="2145707069"/>
            <ac:cxnSpMk id="38" creationId="{9DDAC21D-76E6-5067-C9CF-69F4E1B1DE10}"/>
          </ac:cxnSpMkLst>
        </pc:cxnChg>
        <pc:cxnChg chg="mod">
          <ac:chgData name="Nitish Kumar" userId="dd67aa8a-8cf6-4186-8ec6-f4690f9005b2" providerId="ADAL" clId="{C6D4F506-5911-4DE7-B986-0013CD5AFD26}" dt="2024-05-27T05:13:33.875" v="6271" actId="21"/>
          <ac:cxnSpMkLst>
            <pc:docMk/>
            <pc:sldMk cId="3591144881" sldId="2145707069"/>
            <ac:cxnSpMk id="60" creationId="{35D2490E-0CB2-E4E2-E41B-6A8304E13E1F}"/>
          </ac:cxnSpMkLst>
        </pc:cxnChg>
        <pc:cxnChg chg="mod">
          <ac:chgData name="Nitish Kumar" userId="dd67aa8a-8cf6-4186-8ec6-f4690f9005b2" providerId="ADAL" clId="{C6D4F506-5911-4DE7-B986-0013CD5AFD26}" dt="2024-05-27T05:13:33.875" v="6271" actId="21"/>
          <ac:cxnSpMkLst>
            <pc:docMk/>
            <pc:sldMk cId="3591144881" sldId="2145707069"/>
            <ac:cxnSpMk id="61" creationId="{B914036E-3ABE-EE8F-9918-5DE9055D47F2}"/>
          </ac:cxnSpMkLst>
        </pc:cxnChg>
        <pc:cxnChg chg="mod">
          <ac:chgData name="Nitish Kumar" userId="dd67aa8a-8cf6-4186-8ec6-f4690f9005b2" providerId="ADAL" clId="{C6D4F506-5911-4DE7-B986-0013CD5AFD26}" dt="2024-05-27T05:13:33.875" v="6271" actId="21"/>
          <ac:cxnSpMkLst>
            <pc:docMk/>
            <pc:sldMk cId="3591144881" sldId="2145707069"/>
            <ac:cxnSpMk id="62" creationId="{3A16A1AF-37D2-184B-E375-745B0F11928F}"/>
          </ac:cxnSpMkLst>
        </pc:cxnChg>
      </pc:sldChg>
      <pc:sldChg chg="addSp delSp modSp new add del mod">
        <pc:chgData name="Nitish Kumar" userId="dd67aa8a-8cf6-4186-8ec6-f4690f9005b2" providerId="ADAL" clId="{C6D4F506-5911-4DE7-B986-0013CD5AFD26}" dt="2024-05-27T05:39:09.837" v="6773" actId="47"/>
        <pc:sldMkLst>
          <pc:docMk/>
          <pc:sldMk cId="106343452" sldId="2145707070"/>
        </pc:sldMkLst>
        <pc:spChg chg="del">
          <ac:chgData name="Nitish Kumar" userId="dd67aa8a-8cf6-4186-8ec6-f4690f9005b2" providerId="ADAL" clId="{C6D4F506-5911-4DE7-B986-0013CD5AFD26}" dt="2024-05-27T05:13:37.485" v="6272" actId="478"/>
          <ac:spMkLst>
            <pc:docMk/>
            <pc:sldMk cId="106343452" sldId="2145707070"/>
            <ac:spMk id="2" creationId="{73C7F3AE-6649-62F2-95AC-B9E6ED6D7720}"/>
          </ac:spMkLst>
        </pc:spChg>
        <pc:spChg chg="del">
          <ac:chgData name="Nitish Kumar" userId="dd67aa8a-8cf6-4186-8ec6-f4690f9005b2" providerId="ADAL" clId="{C6D4F506-5911-4DE7-B986-0013CD5AFD26}" dt="2024-05-27T05:13:37.485" v="6272" actId="478"/>
          <ac:spMkLst>
            <pc:docMk/>
            <pc:sldMk cId="106343452" sldId="2145707070"/>
            <ac:spMk id="3" creationId="{5D0576C2-F9D1-AEF2-4219-11B3B649D9C0}"/>
          </ac:spMkLst>
        </pc:spChg>
        <pc:spChg chg="del">
          <ac:chgData name="Nitish Kumar" userId="dd67aa8a-8cf6-4186-8ec6-f4690f9005b2" providerId="ADAL" clId="{C6D4F506-5911-4DE7-B986-0013CD5AFD26}" dt="2024-05-27T05:13:37.485" v="6272" actId="478"/>
          <ac:spMkLst>
            <pc:docMk/>
            <pc:sldMk cId="106343452" sldId="2145707070"/>
            <ac:spMk id="4" creationId="{AF31FE31-A62B-1BB6-A3F6-BC5D1D14A52D}"/>
          </ac:spMkLst>
        </pc:spChg>
        <pc:spChg chg="del">
          <ac:chgData name="Nitish Kumar" userId="dd67aa8a-8cf6-4186-8ec6-f4690f9005b2" providerId="ADAL" clId="{C6D4F506-5911-4DE7-B986-0013CD5AFD26}" dt="2024-05-27T05:13:37.485" v="6272" actId="478"/>
          <ac:spMkLst>
            <pc:docMk/>
            <pc:sldMk cId="106343452" sldId="2145707070"/>
            <ac:spMk id="5" creationId="{9A49D0DC-A622-65D3-7609-937118E7B89C}"/>
          </ac:spMkLst>
        </pc:spChg>
        <pc:spChg chg="del">
          <ac:chgData name="Nitish Kumar" userId="dd67aa8a-8cf6-4186-8ec6-f4690f9005b2" providerId="ADAL" clId="{C6D4F506-5911-4DE7-B986-0013CD5AFD26}" dt="2024-05-27T05:13:37.485" v="6272" actId="478"/>
          <ac:spMkLst>
            <pc:docMk/>
            <pc:sldMk cId="106343452" sldId="2145707070"/>
            <ac:spMk id="6" creationId="{D4A71AAA-194A-6CFF-6B09-916D92E841BB}"/>
          </ac:spMkLst>
        </pc:spChg>
        <pc:spChg chg="del">
          <ac:chgData name="Nitish Kumar" userId="dd67aa8a-8cf6-4186-8ec6-f4690f9005b2" providerId="ADAL" clId="{C6D4F506-5911-4DE7-B986-0013CD5AFD26}" dt="2024-05-27T05:13:37.485" v="6272" actId="478"/>
          <ac:spMkLst>
            <pc:docMk/>
            <pc:sldMk cId="106343452" sldId="2145707070"/>
            <ac:spMk id="7" creationId="{63B8D188-AC63-A451-C863-AB84A8D9F1EF}"/>
          </ac:spMkLst>
        </pc:spChg>
        <pc:spChg chg="del">
          <ac:chgData name="Nitish Kumar" userId="dd67aa8a-8cf6-4186-8ec6-f4690f9005b2" providerId="ADAL" clId="{C6D4F506-5911-4DE7-B986-0013CD5AFD26}" dt="2024-05-27T05:13:37.485" v="6272" actId="478"/>
          <ac:spMkLst>
            <pc:docMk/>
            <pc:sldMk cId="106343452" sldId="2145707070"/>
            <ac:spMk id="8" creationId="{8928FD76-8386-838D-FA96-C96D492B5533}"/>
          </ac:spMkLst>
        </pc:spChg>
        <pc:spChg chg="del">
          <ac:chgData name="Nitish Kumar" userId="dd67aa8a-8cf6-4186-8ec6-f4690f9005b2" providerId="ADAL" clId="{C6D4F506-5911-4DE7-B986-0013CD5AFD26}" dt="2024-05-27T05:13:37.485" v="6272" actId="478"/>
          <ac:spMkLst>
            <pc:docMk/>
            <pc:sldMk cId="106343452" sldId="2145707070"/>
            <ac:spMk id="9" creationId="{38C51209-0F97-54D7-0C0D-630914E4DCC9}"/>
          </ac:spMkLst>
        </pc:spChg>
        <pc:spChg chg="del">
          <ac:chgData name="Nitish Kumar" userId="dd67aa8a-8cf6-4186-8ec6-f4690f9005b2" providerId="ADAL" clId="{C6D4F506-5911-4DE7-B986-0013CD5AFD26}" dt="2024-05-27T05:13:37.485" v="6272" actId="478"/>
          <ac:spMkLst>
            <pc:docMk/>
            <pc:sldMk cId="106343452" sldId="2145707070"/>
            <ac:spMk id="10" creationId="{C50263CE-B26D-21F3-7026-60F6F8145514}"/>
          </ac:spMkLst>
        </pc:spChg>
        <pc:spChg chg="del">
          <ac:chgData name="Nitish Kumar" userId="dd67aa8a-8cf6-4186-8ec6-f4690f9005b2" providerId="ADAL" clId="{C6D4F506-5911-4DE7-B986-0013CD5AFD26}" dt="2024-05-27T05:13:37.485" v="6272" actId="478"/>
          <ac:spMkLst>
            <pc:docMk/>
            <pc:sldMk cId="106343452" sldId="2145707070"/>
            <ac:spMk id="11" creationId="{DD099652-5683-E667-3672-F61EC8E1D105}"/>
          </ac:spMkLst>
        </pc:spChg>
        <pc:spChg chg="mod">
          <ac:chgData name="Nitish Kumar" userId="dd67aa8a-8cf6-4186-8ec6-f4690f9005b2" providerId="ADAL" clId="{C6D4F506-5911-4DE7-B986-0013CD5AFD26}" dt="2024-05-27T05:13:38.119" v="6273"/>
          <ac:spMkLst>
            <pc:docMk/>
            <pc:sldMk cId="106343452" sldId="2145707070"/>
            <ac:spMk id="17" creationId="{35DE307F-A8E3-6D8A-6EF3-E0308369B09E}"/>
          </ac:spMkLst>
        </pc:spChg>
        <pc:spChg chg="mod">
          <ac:chgData name="Nitish Kumar" userId="dd67aa8a-8cf6-4186-8ec6-f4690f9005b2" providerId="ADAL" clId="{C6D4F506-5911-4DE7-B986-0013CD5AFD26}" dt="2024-05-27T05:13:38.119" v="6273"/>
          <ac:spMkLst>
            <pc:docMk/>
            <pc:sldMk cId="106343452" sldId="2145707070"/>
            <ac:spMk id="18" creationId="{701B26A8-51C6-4E98-BCB7-9A8FDA18E2BD}"/>
          </ac:spMkLst>
        </pc:spChg>
        <pc:spChg chg="mod">
          <ac:chgData name="Nitish Kumar" userId="dd67aa8a-8cf6-4186-8ec6-f4690f9005b2" providerId="ADAL" clId="{C6D4F506-5911-4DE7-B986-0013CD5AFD26}" dt="2024-05-27T05:13:38.119" v="6273"/>
          <ac:spMkLst>
            <pc:docMk/>
            <pc:sldMk cId="106343452" sldId="2145707070"/>
            <ac:spMk id="19" creationId="{98BFA348-9C83-4F0A-9A7A-EAA3209C9641}"/>
          </ac:spMkLst>
        </pc:spChg>
        <pc:spChg chg="mod">
          <ac:chgData name="Nitish Kumar" userId="dd67aa8a-8cf6-4186-8ec6-f4690f9005b2" providerId="ADAL" clId="{C6D4F506-5911-4DE7-B986-0013CD5AFD26}" dt="2024-05-27T05:13:38.119" v="6273"/>
          <ac:spMkLst>
            <pc:docMk/>
            <pc:sldMk cId="106343452" sldId="2145707070"/>
            <ac:spMk id="20" creationId="{5D3681BB-68DD-4C00-6338-4ADA129827AA}"/>
          </ac:spMkLst>
        </pc:spChg>
        <pc:spChg chg="mod">
          <ac:chgData name="Nitish Kumar" userId="dd67aa8a-8cf6-4186-8ec6-f4690f9005b2" providerId="ADAL" clId="{C6D4F506-5911-4DE7-B986-0013CD5AFD26}" dt="2024-05-27T05:13:38.119" v="6273"/>
          <ac:spMkLst>
            <pc:docMk/>
            <pc:sldMk cId="106343452" sldId="2145707070"/>
            <ac:spMk id="21" creationId="{736F3F1C-498F-EA3D-6BF6-C2F6F34FB15D}"/>
          </ac:spMkLst>
        </pc:spChg>
        <pc:spChg chg="mod">
          <ac:chgData name="Nitish Kumar" userId="dd67aa8a-8cf6-4186-8ec6-f4690f9005b2" providerId="ADAL" clId="{C6D4F506-5911-4DE7-B986-0013CD5AFD26}" dt="2024-05-27T05:13:38.119" v="6273"/>
          <ac:spMkLst>
            <pc:docMk/>
            <pc:sldMk cId="106343452" sldId="2145707070"/>
            <ac:spMk id="22" creationId="{BB5BDDA6-500B-C5F2-3ECB-852605EF9E94}"/>
          </ac:spMkLst>
        </pc:spChg>
        <pc:spChg chg="mod">
          <ac:chgData name="Nitish Kumar" userId="dd67aa8a-8cf6-4186-8ec6-f4690f9005b2" providerId="ADAL" clId="{C6D4F506-5911-4DE7-B986-0013CD5AFD26}" dt="2024-05-27T05:13:38.119" v="6273"/>
          <ac:spMkLst>
            <pc:docMk/>
            <pc:sldMk cId="106343452" sldId="2145707070"/>
            <ac:spMk id="23" creationId="{9329BFF6-36A3-A1C2-8ECF-A5343A91F433}"/>
          </ac:spMkLst>
        </pc:spChg>
        <pc:grpChg chg="add mod">
          <ac:chgData name="Nitish Kumar" userId="dd67aa8a-8cf6-4186-8ec6-f4690f9005b2" providerId="ADAL" clId="{C6D4F506-5911-4DE7-B986-0013CD5AFD26}" dt="2024-05-27T05:13:38.119" v="6273"/>
          <ac:grpSpMkLst>
            <pc:docMk/>
            <pc:sldMk cId="106343452" sldId="2145707070"/>
            <ac:grpSpMk id="12" creationId="{F6B944EC-74BC-5D77-0A00-F3709E007606}"/>
          </ac:grpSpMkLst>
        </pc:grpChg>
        <pc:picChg chg="mod">
          <ac:chgData name="Nitish Kumar" userId="dd67aa8a-8cf6-4186-8ec6-f4690f9005b2" providerId="ADAL" clId="{C6D4F506-5911-4DE7-B986-0013CD5AFD26}" dt="2024-05-27T05:13:38.119" v="6273"/>
          <ac:picMkLst>
            <pc:docMk/>
            <pc:sldMk cId="106343452" sldId="2145707070"/>
            <ac:picMk id="13" creationId="{FC12CFE9-16C9-678B-93F4-0B64A10B007F}"/>
          </ac:picMkLst>
        </pc:picChg>
        <pc:cxnChg chg="mod">
          <ac:chgData name="Nitish Kumar" userId="dd67aa8a-8cf6-4186-8ec6-f4690f9005b2" providerId="ADAL" clId="{C6D4F506-5911-4DE7-B986-0013CD5AFD26}" dt="2024-05-27T05:13:38.119" v="6273"/>
          <ac:cxnSpMkLst>
            <pc:docMk/>
            <pc:sldMk cId="106343452" sldId="2145707070"/>
            <ac:cxnSpMk id="14" creationId="{30E1977F-D82C-7CF7-C696-6C507EA16B14}"/>
          </ac:cxnSpMkLst>
        </pc:cxnChg>
        <pc:cxnChg chg="mod">
          <ac:chgData name="Nitish Kumar" userId="dd67aa8a-8cf6-4186-8ec6-f4690f9005b2" providerId="ADAL" clId="{C6D4F506-5911-4DE7-B986-0013CD5AFD26}" dt="2024-05-27T05:13:38.119" v="6273"/>
          <ac:cxnSpMkLst>
            <pc:docMk/>
            <pc:sldMk cId="106343452" sldId="2145707070"/>
            <ac:cxnSpMk id="15" creationId="{6CB9E9ED-2879-4FB3-B1FD-58A2855938D5}"/>
          </ac:cxnSpMkLst>
        </pc:cxnChg>
        <pc:cxnChg chg="mod">
          <ac:chgData name="Nitish Kumar" userId="dd67aa8a-8cf6-4186-8ec6-f4690f9005b2" providerId="ADAL" clId="{C6D4F506-5911-4DE7-B986-0013CD5AFD26}" dt="2024-05-27T05:13:38.119" v="6273"/>
          <ac:cxnSpMkLst>
            <pc:docMk/>
            <pc:sldMk cId="106343452" sldId="2145707070"/>
            <ac:cxnSpMk id="16" creationId="{67D6E107-186E-D203-4C04-B5E29F7AFA39}"/>
          </ac:cxnSpMkLst>
        </pc:cxnChg>
      </pc:sldChg>
    </pc:docChg>
  </pc:docChgLst>
  <pc:docChgLst>
    <pc:chgData name="Gaurav Kumar Srivastava" userId="266511b5-ff4f-4071-9a8d-166f91238b77" providerId="ADAL" clId="{0E0E7DCB-6D7D-4E04-BE91-91EDBFD69C45}"/>
    <pc:docChg chg="undo custSel addSld delSld modSld">
      <pc:chgData name="Gaurav Kumar Srivastava" userId="266511b5-ff4f-4071-9a8d-166f91238b77" providerId="ADAL" clId="{0E0E7DCB-6D7D-4E04-BE91-91EDBFD69C45}" dt="2024-05-23T11:44:57.732" v="291" actId="20577"/>
      <pc:docMkLst>
        <pc:docMk/>
      </pc:docMkLst>
      <pc:sldChg chg="addSp delSp modSp mod">
        <pc:chgData name="Gaurav Kumar Srivastava" userId="266511b5-ff4f-4071-9a8d-166f91238b77" providerId="ADAL" clId="{0E0E7DCB-6D7D-4E04-BE91-91EDBFD69C45}" dt="2024-05-23T10:06:31.376" v="262"/>
        <pc:sldMkLst>
          <pc:docMk/>
          <pc:sldMk cId="2127289387" sldId="2145707046"/>
        </pc:sldMkLst>
        <pc:spChg chg="add mod">
          <ac:chgData name="Gaurav Kumar Srivastava" userId="266511b5-ff4f-4071-9a8d-166f91238b77" providerId="ADAL" clId="{0E0E7DCB-6D7D-4E04-BE91-91EDBFD69C45}" dt="2024-05-23T07:16:06.070" v="232" actId="1076"/>
          <ac:spMkLst>
            <pc:docMk/>
            <pc:sldMk cId="2127289387" sldId="2145707046"/>
            <ac:spMk id="7" creationId="{7C0508BA-BE97-CE62-E7D0-79E338DF364B}"/>
          </ac:spMkLst>
        </pc:spChg>
        <pc:spChg chg="mod">
          <ac:chgData name="Gaurav Kumar Srivastava" userId="266511b5-ff4f-4071-9a8d-166f91238b77" providerId="ADAL" clId="{0E0E7DCB-6D7D-4E04-BE91-91EDBFD69C45}" dt="2024-05-23T07:15:42.887" v="231" actId="6549"/>
          <ac:spMkLst>
            <pc:docMk/>
            <pc:sldMk cId="2127289387" sldId="2145707046"/>
            <ac:spMk id="16" creationId="{DF882369-D114-E9AC-55B0-C8D3EED85E9A}"/>
          </ac:spMkLst>
        </pc:spChg>
        <pc:spChg chg="mod">
          <ac:chgData name="Gaurav Kumar Srivastava" userId="266511b5-ff4f-4071-9a8d-166f91238b77" providerId="ADAL" clId="{0E0E7DCB-6D7D-4E04-BE91-91EDBFD69C45}" dt="2024-05-23T07:00:14.421" v="169" actId="1076"/>
          <ac:spMkLst>
            <pc:docMk/>
            <pc:sldMk cId="2127289387" sldId="2145707046"/>
            <ac:spMk id="18" creationId="{1854BBCE-91B1-05B5-B420-B2F9B7BA1C68}"/>
          </ac:spMkLst>
        </pc:spChg>
        <pc:spChg chg="mod">
          <ac:chgData name="Gaurav Kumar Srivastava" userId="266511b5-ff4f-4071-9a8d-166f91238b77" providerId="ADAL" clId="{0E0E7DCB-6D7D-4E04-BE91-91EDBFD69C45}" dt="2024-05-23T05:49:16.707" v="120" actId="164"/>
          <ac:spMkLst>
            <pc:docMk/>
            <pc:sldMk cId="2127289387" sldId="2145707046"/>
            <ac:spMk id="28" creationId="{41D62A14-84E0-22D3-8CCC-93B24EF2735E}"/>
          </ac:spMkLst>
        </pc:spChg>
        <pc:spChg chg="mod">
          <ac:chgData name="Gaurav Kumar Srivastava" userId="266511b5-ff4f-4071-9a8d-166f91238b77" providerId="ADAL" clId="{0E0E7DCB-6D7D-4E04-BE91-91EDBFD69C45}" dt="2024-05-23T05:49:16.707" v="120" actId="164"/>
          <ac:spMkLst>
            <pc:docMk/>
            <pc:sldMk cId="2127289387" sldId="2145707046"/>
            <ac:spMk id="29" creationId="{8E76EA83-F5F5-767F-4AD3-16FC4B42A1E5}"/>
          </ac:spMkLst>
        </pc:spChg>
        <pc:spChg chg="mod">
          <ac:chgData name="Gaurav Kumar Srivastava" userId="266511b5-ff4f-4071-9a8d-166f91238b77" providerId="ADAL" clId="{0E0E7DCB-6D7D-4E04-BE91-91EDBFD69C45}" dt="2024-05-23T05:49:41.100" v="126" actId="164"/>
          <ac:spMkLst>
            <pc:docMk/>
            <pc:sldMk cId="2127289387" sldId="2145707046"/>
            <ac:spMk id="32" creationId="{B519F474-AF8B-8DF3-7B1D-992AE94A7B2E}"/>
          </ac:spMkLst>
        </pc:spChg>
        <pc:spChg chg="mod">
          <ac:chgData name="Gaurav Kumar Srivastava" userId="266511b5-ff4f-4071-9a8d-166f91238b77" providerId="ADAL" clId="{0E0E7DCB-6D7D-4E04-BE91-91EDBFD69C45}" dt="2024-05-23T05:49:16.707" v="120" actId="164"/>
          <ac:spMkLst>
            <pc:docMk/>
            <pc:sldMk cId="2127289387" sldId="2145707046"/>
            <ac:spMk id="35" creationId="{8F7EC2C7-D10B-FCD7-9831-2EE09FFEC482}"/>
          </ac:spMkLst>
        </pc:spChg>
        <pc:grpChg chg="add mod">
          <ac:chgData name="Gaurav Kumar Srivastava" userId="266511b5-ff4f-4071-9a8d-166f91238b77" providerId="ADAL" clId="{0E0E7DCB-6D7D-4E04-BE91-91EDBFD69C45}" dt="2024-05-23T05:49:41.100" v="126" actId="164"/>
          <ac:grpSpMkLst>
            <pc:docMk/>
            <pc:sldMk cId="2127289387" sldId="2145707046"/>
            <ac:grpSpMk id="2" creationId="{975CF7D7-7270-6BC7-22A1-E2E556301027}"/>
          </ac:grpSpMkLst>
        </pc:grpChg>
        <pc:grpChg chg="add mod">
          <ac:chgData name="Gaurav Kumar Srivastava" userId="266511b5-ff4f-4071-9a8d-166f91238b77" providerId="ADAL" clId="{0E0E7DCB-6D7D-4E04-BE91-91EDBFD69C45}" dt="2024-05-23T05:49:53.857" v="127" actId="1076"/>
          <ac:grpSpMkLst>
            <pc:docMk/>
            <pc:sldMk cId="2127289387" sldId="2145707046"/>
            <ac:grpSpMk id="5" creationId="{92A6F336-58AC-4A94-72DB-5CFB79ED6F6C}"/>
          </ac:grpSpMkLst>
        </pc:grpChg>
        <pc:graphicFrameChg chg="add mod">
          <ac:chgData name="Gaurav Kumar Srivastava" userId="266511b5-ff4f-4071-9a8d-166f91238b77" providerId="ADAL" clId="{0E0E7DCB-6D7D-4E04-BE91-91EDBFD69C45}" dt="2024-05-23T10:06:31.376" v="262"/>
          <ac:graphicFrameMkLst>
            <pc:docMk/>
            <pc:sldMk cId="2127289387" sldId="2145707046"/>
            <ac:graphicFrameMk id="6" creationId="{8DEDEB54-83B3-4009-9BA2-A526068C310D}"/>
          </ac:graphicFrameMkLst>
        </pc:graphicFrameChg>
        <pc:graphicFrameChg chg="add mod">
          <ac:chgData name="Gaurav Kumar Srivastava" userId="266511b5-ff4f-4071-9a8d-166f91238b77" providerId="ADAL" clId="{0E0E7DCB-6D7D-4E04-BE91-91EDBFD69C45}" dt="2024-05-23T07:16:06.070" v="232" actId="1076"/>
          <ac:graphicFrameMkLst>
            <pc:docMk/>
            <pc:sldMk cId="2127289387" sldId="2145707046"/>
            <ac:graphicFrameMk id="8" creationId="{A8FC3F04-DABC-15EC-8E3E-C2B49B99CCFB}"/>
          </ac:graphicFrameMkLst>
        </pc:graphicFrameChg>
        <pc:graphicFrameChg chg="del">
          <ac:chgData name="Gaurav Kumar Srivastava" userId="266511b5-ff4f-4071-9a8d-166f91238b77" providerId="ADAL" clId="{0E0E7DCB-6D7D-4E04-BE91-91EDBFD69C45}" dt="2024-05-23T05:48:59.679" v="107" actId="478"/>
          <ac:graphicFrameMkLst>
            <pc:docMk/>
            <pc:sldMk cId="2127289387" sldId="2145707046"/>
            <ac:graphicFrameMk id="13" creationId="{06B0AEB5-71CE-FC8A-E9EB-E4DB483BE82C}"/>
          </ac:graphicFrameMkLst>
        </pc:graphicFrameChg>
        <pc:cxnChg chg="mod">
          <ac:chgData name="Gaurav Kumar Srivastava" userId="266511b5-ff4f-4071-9a8d-166f91238b77" providerId="ADAL" clId="{0E0E7DCB-6D7D-4E04-BE91-91EDBFD69C45}" dt="2024-05-23T05:49:16.707" v="120" actId="164"/>
          <ac:cxnSpMkLst>
            <pc:docMk/>
            <pc:sldMk cId="2127289387" sldId="2145707046"/>
            <ac:cxnSpMk id="20" creationId="{7EF64107-E573-9836-4FF3-C92A55818458}"/>
          </ac:cxnSpMkLst>
        </pc:cxnChg>
        <pc:cxnChg chg="mod">
          <ac:chgData name="Gaurav Kumar Srivastava" userId="266511b5-ff4f-4071-9a8d-166f91238b77" providerId="ADAL" clId="{0E0E7DCB-6D7D-4E04-BE91-91EDBFD69C45}" dt="2024-05-23T05:49:16.707" v="120" actId="164"/>
          <ac:cxnSpMkLst>
            <pc:docMk/>
            <pc:sldMk cId="2127289387" sldId="2145707046"/>
            <ac:cxnSpMk id="25" creationId="{22F07642-4464-C226-2DC2-5C5E6C8B09BE}"/>
          </ac:cxnSpMkLst>
        </pc:cxnChg>
        <pc:cxnChg chg="mod">
          <ac:chgData name="Gaurav Kumar Srivastava" userId="266511b5-ff4f-4071-9a8d-166f91238b77" providerId="ADAL" clId="{0E0E7DCB-6D7D-4E04-BE91-91EDBFD69C45}" dt="2024-05-23T05:49:32.605" v="125" actId="14100"/>
          <ac:cxnSpMkLst>
            <pc:docMk/>
            <pc:sldMk cId="2127289387" sldId="2145707046"/>
            <ac:cxnSpMk id="30" creationId="{F12D42A0-F1FB-99B0-187A-E139D7735AE3}"/>
          </ac:cxnSpMkLst>
        </pc:cxnChg>
        <pc:cxnChg chg="mod">
          <ac:chgData name="Gaurav Kumar Srivastava" userId="266511b5-ff4f-4071-9a8d-166f91238b77" providerId="ADAL" clId="{0E0E7DCB-6D7D-4E04-BE91-91EDBFD69C45}" dt="2024-05-23T05:49:16.707" v="120" actId="164"/>
          <ac:cxnSpMkLst>
            <pc:docMk/>
            <pc:sldMk cId="2127289387" sldId="2145707046"/>
            <ac:cxnSpMk id="31" creationId="{A92ADFAA-A004-863E-3427-F737F4E44118}"/>
          </ac:cxnSpMkLst>
        </pc:cxnChg>
      </pc:sldChg>
      <pc:sldChg chg="del">
        <pc:chgData name="Gaurav Kumar Srivastava" userId="266511b5-ff4f-4071-9a8d-166f91238b77" providerId="ADAL" clId="{0E0E7DCB-6D7D-4E04-BE91-91EDBFD69C45}" dt="2024-05-23T05:45:45.758" v="2" actId="47"/>
        <pc:sldMkLst>
          <pc:docMk/>
          <pc:sldMk cId="607468161" sldId="2145707052"/>
        </pc:sldMkLst>
      </pc:sldChg>
      <pc:sldChg chg="add">
        <pc:chgData name="Gaurav Kumar Srivastava" userId="266511b5-ff4f-4071-9a8d-166f91238b77" providerId="ADAL" clId="{0E0E7DCB-6D7D-4E04-BE91-91EDBFD69C45}" dt="2024-05-23T05:43:22.203" v="1"/>
        <pc:sldMkLst>
          <pc:docMk/>
          <pc:sldMk cId="1312825514" sldId="2145707055"/>
        </pc:sldMkLst>
      </pc:sldChg>
      <pc:sldChg chg="add">
        <pc:chgData name="Gaurav Kumar Srivastava" userId="266511b5-ff4f-4071-9a8d-166f91238b77" providerId="ADAL" clId="{0E0E7DCB-6D7D-4E04-BE91-91EDBFD69C45}" dt="2024-05-23T05:46:35.272" v="4"/>
        <pc:sldMkLst>
          <pc:docMk/>
          <pc:sldMk cId="4000954023" sldId="2145707056"/>
        </pc:sldMkLst>
      </pc:sldChg>
      <pc:sldChg chg="addSp delSp modSp new add del mod">
        <pc:chgData name="Gaurav Kumar Srivastava" userId="266511b5-ff4f-4071-9a8d-166f91238b77" providerId="ADAL" clId="{0E0E7DCB-6D7D-4E04-BE91-91EDBFD69C45}" dt="2024-05-23T09:20:31.008" v="240" actId="47"/>
        <pc:sldMkLst>
          <pc:docMk/>
          <pc:sldMk cId="3444749495" sldId="2145707059"/>
        </pc:sldMkLst>
        <pc:graphicFrameChg chg="add del mod">
          <ac:chgData name="Gaurav Kumar Srivastava" userId="266511b5-ff4f-4071-9a8d-166f91238b77" providerId="ADAL" clId="{0E0E7DCB-6D7D-4E04-BE91-91EDBFD69C45}" dt="2024-05-23T09:05:08.732" v="239" actId="478"/>
          <ac:graphicFrameMkLst>
            <pc:docMk/>
            <pc:sldMk cId="3444749495" sldId="2145707059"/>
            <ac:graphicFrameMk id="12" creationId="{67B97860-C51E-C313-4C38-A7135A4E89E8}"/>
          </ac:graphicFrameMkLst>
        </pc:graphicFrameChg>
      </pc:sldChg>
      <pc:sldChg chg="delSp add mod">
        <pc:chgData name="Gaurav Kumar Srivastava" userId="266511b5-ff4f-4071-9a8d-166f91238b77" providerId="ADAL" clId="{0E0E7DCB-6D7D-4E04-BE91-91EDBFD69C45}" dt="2024-05-23T09:29:46.682" v="245" actId="478"/>
        <pc:sldMkLst>
          <pc:docMk/>
          <pc:sldMk cId="2248448192" sldId="2145707061"/>
        </pc:sldMkLst>
        <pc:graphicFrameChg chg="del">
          <ac:chgData name="Gaurav Kumar Srivastava" userId="266511b5-ff4f-4071-9a8d-166f91238b77" providerId="ADAL" clId="{0E0E7DCB-6D7D-4E04-BE91-91EDBFD69C45}" dt="2024-05-23T09:29:44.116" v="244" actId="478"/>
          <ac:graphicFrameMkLst>
            <pc:docMk/>
            <pc:sldMk cId="2248448192" sldId="2145707061"/>
            <ac:graphicFrameMk id="6" creationId="{8DEDEB54-83B3-4009-9BA2-A526068C310D}"/>
          </ac:graphicFrameMkLst>
        </pc:graphicFrameChg>
        <pc:graphicFrameChg chg="del">
          <ac:chgData name="Gaurav Kumar Srivastava" userId="266511b5-ff4f-4071-9a8d-166f91238b77" providerId="ADAL" clId="{0E0E7DCB-6D7D-4E04-BE91-91EDBFD69C45}" dt="2024-05-23T09:29:46.682" v="245" actId="478"/>
          <ac:graphicFrameMkLst>
            <pc:docMk/>
            <pc:sldMk cId="2248448192" sldId="2145707061"/>
            <ac:graphicFrameMk id="8" creationId="{A8FC3F04-DABC-15EC-8E3E-C2B49B99CCFB}"/>
          </ac:graphicFrameMkLst>
        </pc:graphicFrameChg>
      </pc:sldChg>
      <pc:sldChg chg="addSp delSp modSp add mod">
        <pc:chgData name="Gaurav Kumar Srivastava" userId="266511b5-ff4f-4071-9a8d-166f91238b77" providerId="ADAL" clId="{0E0E7DCB-6D7D-4E04-BE91-91EDBFD69C45}" dt="2024-05-23T10:04:39.811" v="261" actId="1076"/>
        <pc:sldMkLst>
          <pc:docMk/>
          <pc:sldMk cId="659066545" sldId="2145707063"/>
        </pc:sldMkLst>
        <pc:spChg chg="del">
          <ac:chgData name="Gaurav Kumar Srivastava" userId="266511b5-ff4f-4071-9a8d-166f91238b77" providerId="ADAL" clId="{0E0E7DCB-6D7D-4E04-BE91-91EDBFD69C45}" dt="2024-05-23T10:01:22.105" v="248" actId="478"/>
          <ac:spMkLst>
            <pc:docMk/>
            <pc:sldMk cId="659066545" sldId="2145707063"/>
            <ac:spMk id="7" creationId="{7C0508BA-BE97-CE62-E7D0-79E338DF364B}"/>
          </ac:spMkLst>
        </pc:spChg>
        <pc:spChg chg="del">
          <ac:chgData name="Gaurav Kumar Srivastava" userId="266511b5-ff4f-4071-9a8d-166f91238b77" providerId="ADAL" clId="{0E0E7DCB-6D7D-4E04-BE91-91EDBFD69C45}" dt="2024-05-23T10:01:22.105" v="248" actId="478"/>
          <ac:spMkLst>
            <pc:docMk/>
            <pc:sldMk cId="659066545" sldId="2145707063"/>
            <ac:spMk id="18" creationId="{1854BBCE-91B1-05B5-B420-B2F9B7BA1C68}"/>
          </ac:spMkLst>
        </pc:spChg>
        <pc:picChg chg="add mod">
          <ac:chgData name="Gaurav Kumar Srivastava" userId="266511b5-ff4f-4071-9a8d-166f91238b77" providerId="ADAL" clId="{0E0E7DCB-6D7D-4E04-BE91-91EDBFD69C45}" dt="2024-05-23T10:04:39.811" v="261" actId="1076"/>
          <ac:picMkLst>
            <pc:docMk/>
            <pc:sldMk cId="659066545" sldId="2145707063"/>
            <ac:picMk id="4" creationId="{09E1757B-D1B7-608B-DC9D-BB552411ED16}"/>
          </ac:picMkLst>
        </pc:picChg>
        <pc:picChg chg="add del mod">
          <ac:chgData name="Gaurav Kumar Srivastava" userId="266511b5-ff4f-4071-9a8d-166f91238b77" providerId="ADAL" clId="{0E0E7DCB-6D7D-4E04-BE91-91EDBFD69C45}" dt="2024-05-23T10:03:26.478" v="255" actId="478"/>
          <ac:picMkLst>
            <pc:docMk/>
            <pc:sldMk cId="659066545" sldId="2145707063"/>
            <ac:picMk id="1026" creationId="{B737A533-37EE-94CA-EB80-41F8D0A82BEB}"/>
          </ac:picMkLst>
        </pc:picChg>
      </pc:sldChg>
      <pc:sldChg chg="addSp delSp modSp add mod">
        <pc:chgData name="Gaurav Kumar Srivastava" userId="266511b5-ff4f-4071-9a8d-166f91238b77" providerId="ADAL" clId="{0E0E7DCB-6D7D-4E04-BE91-91EDBFD69C45}" dt="2024-05-23T11:44:57.732" v="291" actId="20577"/>
        <pc:sldMkLst>
          <pc:docMk/>
          <pc:sldMk cId="2090421735" sldId="2145707064"/>
        </pc:sldMkLst>
        <pc:spChg chg="del">
          <ac:chgData name="Gaurav Kumar Srivastava" userId="266511b5-ff4f-4071-9a8d-166f91238b77" providerId="ADAL" clId="{0E0E7DCB-6D7D-4E04-BE91-91EDBFD69C45}" dt="2024-05-23T11:43:24.395" v="266" actId="478"/>
          <ac:spMkLst>
            <pc:docMk/>
            <pc:sldMk cId="2090421735" sldId="2145707064"/>
            <ac:spMk id="7" creationId="{7C0508BA-BE97-CE62-E7D0-79E338DF364B}"/>
          </ac:spMkLst>
        </pc:spChg>
        <pc:spChg chg="mod">
          <ac:chgData name="Gaurav Kumar Srivastava" userId="266511b5-ff4f-4071-9a8d-166f91238b77" providerId="ADAL" clId="{0E0E7DCB-6D7D-4E04-BE91-91EDBFD69C45}" dt="2024-05-23T11:44:57.732" v="291" actId="20577"/>
          <ac:spMkLst>
            <pc:docMk/>
            <pc:sldMk cId="2090421735" sldId="2145707064"/>
            <ac:spMk id="18" creationId="{1854BBCE-91B1-05B5-B420-B2F9B7BA1C68}"/>
          </ac:spMkLst>
        </pc:spChg>
        <pc:graphicFrameChg chg="add mod">
          <ac:chgData name="Gaurav Kumar Srivastava" userId="266511b5-ff4f-4071-9a8d-166f91238b77" providerId="ADAL" clId="{0E0E7DCB-6D7D-4E04-BE91-91EDBFD69C45}" dt="2024-05-23T11:44:37.700" v="271" actId="208"/>
          <ac:graphicFrameMkLst>
            <pc:docMk/>
            <pc:sldMk cId="2090421735" sldId="2145707064"/>
            <ac:graphicFrameMk id="2" creationId="{8210FF80-41E8-4686-DC9F-FC19383B18D5}"/>
          </ac:graphicFrameMkLst>
        </pc:graphicFrameChg>
        <pc:graphicFrameChg chg="del">
          <ac:chgData name="Gaurav Kumar Srivastava" userId="266511b5-ff4f-4071-9a8d-166f91238b77" providerId="ADAL" clId="{0E0E7DCB-6D7D-4E04-BE91-91EDBFD69C45}" dt="2024-05-23T11:43:21.956" v="265" actId="478"/>
          <ac:graphicFrameMkLst>
            <pc:docMk/>
            <pc:sldMk cId="2090421735" sldId="2145707064"/>
            <ac:graphicFrameMk id="6" creationId="{8DEDEB54-83B3-4009-9BA2-A526068C310D}"/>
          </ac:graphicFrameMkLst>
        </pc:graphicFrameChg>
        <pc:graphicFrameChg chg="del">
          <ac:chgData name="Gaurav Kumar Srivastava" userId="266511b5-ff4f-4071-9a8d-166f91238b77" providerId="ADAL" clId="{0E0E7DCB-6D7D-4E04-BE91-91EDBFD69C45}" dt="2024-05-23T11:43:21.956" v="265" actId="478"/>
          <ac:graphicFrameMkLst>
            <pc:docMk/>
            <pc:sldMk cId="2090421735" sldId="2145707064"/>
            <ac:graphicFrameMk id="8" creationId="{A8FC3F04-DABC-15EC-8E3E-C2B49B99CCFB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2074363992172209E-2"/>
          <c:y val="9.2198581560283682E-2"/>
          <c:w val="0.95065697511881464"/>
          <c:h val="0.81560283687943258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CY$1</c:f>
              <c:numCache>
                <c:formatCode>General</c:formatCode>
                <c:ptCount val="103"/>
                <c:pt idx="0">
                  <c:v>10</c:v>
                </c:pt>
                <c:pt idx="1">
                  <c:v>10.9</c:v>
                </c:pt>
                <c:pt idx="2">
                  <c:v>10.6</c:v>
                </c:pt>
                <c:pt idx="3">
                  <c:v>10.6</c:v>
                </c:pt>
                <c:pt idx="4">
                  <c:v>10</c:v>
                </c:pt>
                <c:pt idx="5">
                  <c:v>10.5</c:v>
                </c:pt>
                <c:pt idx="6">
                  <c:v>10</c:v>
                </c:pt>
                <c:pt idx="7">
                  <c:v>10.6</c:v>
                </c:pt>
                <c:pt idx="8">
                  <c:v>10</c:v>
                </c:pt>
                <c:pt idx="9">
                  <c:v>10.5</c:v>
                </c:pt>
                <c:pt idx="10">
                  <c:v>10.199999999999999</c:v>
                </c:pt>
                <c:pt idx="11">
                  <c:v>10.5</c:v>
                </c:pt>
                <c:pt idx="12">
                  <c:v>10</c:v>
                </c:pt>
                <c:pt idx="13">
                  <c:v>10</c:v>
                </c:pt>
                <c:pt idx="14">
                  <c:v>10.6</c:v>
                </c:pt>
                <c:pt idx="15">
                  <c:v>10</c:v>
                </c:pt>
                <c:pt idx="16">
                  <c:v>10.5</c:v>
                </c:pt>
                <c:pt idx="17">
                  <c:v>10.199999999999999</c:v>
                </c:pt>
                <c:pt idx="18">
                  <c:v>10.199999999999999</c:v>
                </c:pt>
                <c:pt idx="19">
                  <c:v>10.4</c:v>
                </c:pt>
                <c:pt idx="20">
                  <c:v>10.1</c:v>
                </c:pt>
                <c:pt idx="21">
                  <c:v>10.4</c:v>
                </c:pt>
                <c:pt idx="22">
                  <c:v>10.6</c:v>
                </c:pt>
                <c:pt idx="23">
                  <c:v>10.3</c:v>
                </c:pt>
                <c:pt idx="24">
                  <c:v>10.3</c:v>
                </c:pt>
                <c:pt idx="25">
                  <c:v>10.3</c:v>
                </c:pt>
                <c:pt idx="26">
                  <c:v>10.199999999999999</c:v>
                </c:pt>
                <c:pt idx="27">
                  <c:v>10.3</c:v>
                </c:pt>
                <c:pt idx="28">
                  <c:v>10.199999999999999</c:v>
                </c:pt>
                <c:pt idx="29">
                  <c:v>10.199999999999999</c:v>
                </c:pt>
                <c:pt idx="30">
                  <c:v>10.5</c:v>
                </c:pt>
                <c:pt idx="31">
                  <c:v>10.6</c:v>
                </c:pt>
                <c:pt idx="32">
                  <c:v>10.6</c:v>
                </c:pt>
                <c:pt idx="33">
                  <c:v>10.9</c:v>
                </c:pt>
                <c:pt idx="34">
                  <c:v>10.5</c:v>
                </c:pt>
                <c:pt idx="35">
                  <c:v>10.6</c:v>
                </c:pt>
                <c:pt idx="36">
                  <c:v>10.5</c:v>
                </c:pt>
                <c:pt idx="37">
                  <c:v>10.5</c:v>
                </c:pt>
                <c:pt idx="38">
                  <c:v>10.1</c:v>
                </c:pt>
                <c:pt idx="39">
                  <c:v>10.199999999999999</c:v>
                </c:pt>
                <c:pt idx="40">
                  <c:v>10.9</c:v>
                </c:pt>
                <c:pt idx="41">
                  <c:v>10.5</c:v>
                </c:pt>
                <c:pt idx="42">
                  <c:v>10.199999999999999</c:v>
                </c:pt>
                <c:pt idx="43">
                  <c:v>10.4</c:v>
                </c:pt>
                <c:pt idx="44">
                  <c:v>10.3</c:v>
                </c:pt>
                <c:pt idx="45">
                  <c:v>10.5</c:v>
                </c:pt>
                <c:pt idx="46">
                  <c:v>10.199999999999999</c:v>
                </c:pt>
                <c:pt idx="47">
                  <c:v>10.1</c:v>
                </c:pt>
                <c:pt idx="48">
                  <c:v>9.6999999999999993</c:v>
                </c:pt>
                <c:pt idx="49">
                  <c:v>9.6999999999999993</c:v>
                </c:pt>
                <c:pt idx="50">
                  <c:v>10.5</c:v>
                </c:pt>
                <c:pt idx="51">
                  <c:v>9.6999999999999993</c:v>
                </c:pt>
                <c:pt idx="52">
                  <c:v>9.6999999999999993</c:v>
                </c:pt>
                <c:pt idx="53">
                  <c:v>10.199999999999999</c:v>
                </c:pt>
                <c:pt idx="54">
                  <c:v>10.9</c:v>
                </c:pt>
                <c:pt idx="55">
                  <c:v>10.5</c:v>
                </c:pt>
                <c:pt idx="56">
                  <c:v>10.5</c:v>
                </c:pt>
                <c:pt idx="57">
                  <c:v>10.9</c:v>
                </c:pt>
                <c:pt idx="58">
                  <c:v>10.5</c:v>
                </c:pt>
                <c:pt idx="59">
                  <c:v>9.6999999999999993</c:v>
                </c:pt>
                <c:pt idx="60">
                  <c:v>10.1</c:v>
                </c:pt>
                <c:pt idx="61">
                  <c:v>10.3</c:v>
                </c:pt>
                <c:pt idx="62">
                  <c:v>10.9</c:v>
                </c:pt>
                <c:pt idx="63">
                  <c:v>10.6</c:v>
                </c:pt>
                <c:pt idx="64">
                  <c:v>10.6</c:v>
                </c:pt>
                <c:pt idx="65">
                  <c:v>10.199999999999999</c:v>
                </c:pt>
                <c:pt idx="66">
                  <c:v>10.3</c:v>
                </c:pt>
                <c:pt idx="67">
                  <c:v>10.1</c:v>
                </c:pt>
                <c:pt idx="68">
                  <c:v>10.5</c:v>
                </c:pt>
                <c:pt idx="69">
                  <c:v>10.6</c:v>
                </c:pt>
                <c:pt idx="70">
                  <c:v>10.1</c:v>
                </c:pt>
                <c:pt idx="71">
                  <c:v>10.5</c:v>
                </c:pt>
                <c:pt idx="72">
                  <c:v>10.6</c:v>
                </c:pt>
                <c:pt idx="73">
                  <c:v>10.199999999999999</c:v>
                </c:pt>
                <c:pt idx="74">
                  <c:v>10.3</c:v>
                </c:pt>
                <c:pt idx="75">
                  <c:v>10.199999999999999</c:v>
                </c:pt>
                <c:pt idx="76">
                  <c:v>10.5</c:v>
                </c:pt>
                <c:pt idx="77">
                  <c:v>10.5</c:v>
                </c:pt>
                <c:pt idx="78">
                  <c:v>10.3</c:v>
                </c:pt>
                <c:pt idx="79">
                  <c:v>10.3</c:v>
                </c:pt>
                <c:pt idx="80">
                  <c:v>10.3</c:v>
                </c:pt>
                <c:pt idx="81">
                  <c:v>10.6</c:v>
                </c:pt>
                <c:pt idx="82">
                  <c:v>10.5</c:v>
                </c:pt>
                <c:pt idx="83">
                  <c:v>10.3</c:v>
                </c:pt>
                <c:pt idx="84">
                  <c:v>10.199999999999999</c:v>
                </c:pt>
                <c:pt idx="85">
                  <c:v>10.1</c:v>
                </c:pt>
                <c:pt idx="86">
                  <c:v>10.1</c:v>
                </c:pt>
                <c:pt idx="87">
                  <c:v>10.5</c:v>
                </c:pt>
                <c:pt idx="88">
                  <c:v>10.3</c:v>
                </c:pt>
                <c:pt idx="89">
                  <c:v>10.1</c:v>
                </c:pt>
                <c:pt idx="90">
                  <c:v>10.9</c:v>
                </c:pt>
                <c:pt idx="91">
                  <c:v>10.199999999999999</c:v>
                </c:pt>
                <c:pt idx="92">
                  <c:v>9.6999999999999993</c:v>
                </c:pt>
                <c:pt idx="93">
                  <c:v>10.199999999999999</c:v>
                </c:pt>
                <c:pt idx="94">
                  <c:v>10.3</c:v>
                </c:pt>
                <c:pt idx="95">
                  <c:v>10.3</c:v>
                </c:pt>
                <c:pt idx="96">
                  <c:v>10.3</c:v>
                </c:pt>
                <c:pt idx="97">
                  <c:v>10.5</c:v>
                </c:pt>
                <c:pt idx="98">
                  <c:v>10.5</c:v>
                </c:pt>
                <c:pt idx="99">
                  <c:v>10.5</c:v>
                </c:pt>
                <c:pt idx="100">
                  <c:v>10.3</c:v>
                </c:pt>
                <c:pt idx="101">
                  <c:v>10.1</c:v>
                </c:pt>
                <c:pt idx="102">
                  <c:v>10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21E-4C46-941D-09D6AE5CF913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CY$2</c:f>
              <c:numCache>
                <c:formatCode>General</c:formatCode>
                <c:ptCount val="103"/>
                <c:pt idx="0">
                  <c:v>10.11</c:v>
                </c:pt>
                <c:pt idx="1">
                  <c:v>9.9600000000000009</c:v>
                </c:pt>
                <c:pt idx="2">
                  <c:v>10.41</c:v>
                </c:pt>
                <c:pt idx="3">
                  <c:v>10.41</c:v>
                </c:pt>
                <c:pt idx="4">
                  <c:v>11.04</c:v>
                </c:pt>
                <c:pt idx="5">
                  <c:v>10</c:v>
                </c:pt>
                <c:pt idx="6">
                  <c:v>10.210000000000001</c:v>
                </c:pt>
                <c:pt idx="7">
                  <c:v>10.59</c:v>
                </c:pt>
                <c:pt idx="8">
                  <c:v>10.23</c:v>
                </c:pt>
                <c:pt idx="9">
                  <c:v>10.29</c:v>
                </c:pt>
                <c:pt idx="10">
                  <c:v>10.59</c:v>
                </c:pt>
                <c:pt idx="11">
                  <c:v>10.27</c:v>
                </c:pt>
                <c:pt idx="12">
                  <c:v>10</c:v>
                </c:pt>
                <c:pt idx="13">
                  <c:v>10.8</c:v>
                </c:pt>
                <c:pt idx="14">
                  <c:v>11.68</c:v>
                </c:pt>
                <c:pt idx="15">
                  <c:v>10.02</c:v>
                </c:pt>
                <c:pt idx="16">
                  <c:v>10.18</c:v>
                </c:pt>
                <c:pt idx="17">
                  <c:v>8.2799999999999994</c:v>
                </c:pt>
                <c:pt idx="18">
                  <c:v>9.84</c:v>
                </c:pt>
                <c:pt idx="19">
                  <c:v>9.56</c:v>
                </c:pt>
                <c:pt idx="20">
                  <c:v>10.49</c:v>
                </c:pt>
                <c:pt idx="21">
                  <c:v>10.82</c:v>
                </c:pt>
                <c:pt idx="22">
                  <c:v>10.78</c:v>
                </c:pt>
                <c:pt idx="23">
                  <c:v>9.9</c:v>
                </c:pt>
                <c:pt idx="24">
                  <c:v>10.84</c:v>
                </c:pt>
                <c:pt idx="25">
                  <c:v>10.45</c:v>
                </c:pt>
                <c:pt idx="26">
                  <c:v>10.78</c:v>
                </c:pt>
                <c:pt idx="27">
                  <c:v>9.7100000000000009</c:v>
                </c:pt>
                <c:pt idx="28">
                  <c:v>10.25</c:v>
                </c:pt>
                <c:pt idx="29">
                  <c:v>11.34</c:v>
                </c:pt>
                <c:pt idx="30">
                  <c:v>9.89</c:v>
                </c:pt>
                <c:pt idx="31">
                  <c:v>10.51</c:v>
                </c:pt>
                <c:pt idx="32">
                  <c:v>10.33</c:v>
                </c:pt>
                <c:pt idx="33">
                  <c:v>11.12</c:v>
                </c:pt>
                <c:pt idx="34">
                  <c:v>10.17</c:v>
                </c:pt>
                <c:pt idx="35">
                  <c:v>10.51</c:v>
                </c:pt>
                <c:pt idx="36">
                  <c:v>10.51</c:v>
                </c:pt>
                <c:pt idx="37">
                  <c:v>10.130000000000001</c:v>
                </c:pt>
                <c:pt idx="38">
                  <c:v>10.76</c:v>
                </c:pt>
                <c:pt idx="39">
                  <c:v>10.58</c:v>
                </c:pt>
                <c:pt idx="40">
                  <c:v>11.07</c:v>
                </c:pt>
                <c:pt idx="41">
                  <c:v>10.42</c:v>
                </c:pt>
                <c:pt idx="42">
                  <c:v>10.6</c:v>
                </c:pt>
                <c:pt idx="43">
                  <c:v>10.41</c:v>
                </c:pt>
                <c:pt idx="44">
                  <c:v>10.77</c:v>
                </c:pt>
                <c:pt idx="45">
                  <c:v>10.31</c:v>
                </c:pt>
                <c:pt idx="46">
                  <c:v>9.6999999999999993</c:v>
                </c:pt>
                <c:pt idx="47">
                  <c:v>10.31</c:v>
                </c:pt>
                <c:pt idx="48">
                  <c:v>11.09</c:v>
                </c:pt>
                <c:pt idx="49">
                  <c:v>10.77</c:v>
                </c:pt>
                <c:pt idx="50">
                  <c:v>11.01</c:v>
                </c:pt>
                <c:pt idx="51">
                  <c:v>10.06</c:v>
                </c:pt>
                <c:pt idx="52">
                  <c:v>11.58</c:v>
                </c:pt>
                <c:pt idx="53">
                  <c:v>11.63</c:v>
                </c:pt>
                <c:pt idx="54">
                  <c:v>11.29</c:v>
                </c:pt>
                <c:pt idx="55">
                  <c:v>11.11</c:v>
                </c:pt>
                <c:pt idx="56">
                  <c:v>10.63</c:v>
                </c:pt>
                <c:pt idx="57">
                  <c:v>10.92</c:v>
                </c:pt>
                <c:pt idx="58">
                  <c:v>10.37</c:v>
                </c:pt>
                <c:pt idx="59">
                  <c:v>10.72</c:v>
                </c:pt>
                <c:pt idx="60">
                  <c:v>10.66</c:v>
                </c:pt>
                <c:pt idx="61">
                  <c:v>10.67</c:v>
                </c:pt>
                <c:pt idx="62">
                  <c:v>11.08</c:v>
                </c:pt>
                <c:pt idx="63">
                  <c:v>11.04</c:v>
                </c:pt>
                <c:pt idx="64">
                  <c:v>11.57</c:v>
                </c:pt>
                <c:pt idx="65">
                  <c:v>10.97</c:v>
                </c:pt>
                <c:pt idx="66">
                  <c:v>10.8</c:v>
                </c:pt>
                <c:pt idx="67">
                  <c:v>10.53</c:v>
                </c:pt>
                <c:pt idx="68">
                  <c:v>10.81</c:v>
                </c:pt>
                <c:pt idx="69">
                  <c:v>11</c:v>
                </c:pt>
                <c:pt idx="70">
                  <c:v>10.97</c:v>
                </c:pt>
                <c:pt idx="71">
                  <c:v>10.79</c:v>
                </c:pt>
                <c:pt idx="72">
                  <c:v>11.14</c:v>
                </c:pt>
                <c:pt idx="73">
                  <c:v>10.87</c:v>
                </c:pt>
                <c:pt idx="74">
                  <c:v>11.04</c:v>
                </c:pt>
                <c:pt idx="75">
                  <c:v>9.23</c:v>
                </c:pt>
                <c:pt idx="76">
                  <c:v>10.84</c:v>
                </c:pt>
                <c:pt idx="77">
                  <c:v>12.3</c:v>
                </c:pt>
                <c:pt idx="78">
                  <c:v>10.77</c:v>
                </c:pt>
                <c:pt idx="79">
                  <c:v>11.48</c:v>
                </c:pt>
                <c:pt idx="80">
                  <c:v>11.43</c:v>
                </c:pt>
                <c:pt idx="81">
                  <c:v>11.73</c:v>
                </c:pt>
                <c:pt idx="82">
                  <c:v>10.87</c:v>
                </c:pt>
                <c:pt idx="83">
                  <c:v>10.89</c:v>
                </c:pt>
                <c:pt idx="84">
                  <c:v>10.69</c:v>
                </c:pt>
                <c:pt idx="85">
                  <c:v>10.87</c:v>
                </c:pt>
                <c:pt idx="86">
                  <c:v>11.25</c:v>
                </c:pt>
                <c:pt idx="87">
                  <c:v>10.56</c:v>
                </c:pt>
                <c:pt idx="88">
                  <c:v>11.22</c:v>
                </c:pt>
                <c:pt idx="89">
                  <c:v>10.96</c:v>
                </c:pt>
                <c:pt idx="90">
                  <c:v>10.87</c:v>
                </c:pt>
                <c:pt idx="91">
                  <c:v>10.6</c:v>
                </c:pt>
                <c:pt idx="92">
                  <c:v>10.57</c:v>
                </c:pt>
                <c:pt idx="93">
                  <c:v>10.63</c:v>
                </c:pt>
                <c:pt idx="94">
                  <c:v>10.77</c:v>
                </c:pt>
                <c:pt idx="95">
                  <c:v>11.8</c:v>
                </c:pt>
                <c:pt idx="96">
                  <c:v>11.06</c:v>
                </c:pt>
                <c:pt idx="97">
                  <c:v>11.11</c:v>
                </c:pt>
                <c:pt idx="98">
                  <c:v>11.02</c:v>
                </c:pt>
                <c:pt idx="99">
                  <c:v>10.38</c:v>
                </c:pt>
                <c:pt idx="100">
                  <c:v>10.89</c:v>
                </c:pt>
                <c:pt idx="101">
                  <c:v>10.8</c:v>
                </c:pt>
                <c:pt idx="102">
                  <c:v>10.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E-4C46-941D-09D6AE5CF9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89697184"/>
        <c:axId val="1"/>
      </c:lineChart>
      <c:catAx>
        <c:axId val="9896971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"/>
          <c:min val="8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89697184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2074363992172209E-2"/>
          <c:y val="8.632138114209828E-2"/>
          <c:w val="0.95065697511881464"/>
          <c:h val="0.8273572377158035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CY$1</c:f>
              <c:numCache>
                <c:formatCode>General</c:formatCode>
                <c:ptCount val="103"/>
                <c:pt idx="0">
                  <c:v>10.1</c:v>
                </c:pt>
                <c:pt idx="1">
                  <c:v>11.009</c:v>
                </c:pt>
                <c:pt idx="2">
                  <c:v>10.706</c:v>
                </c:pt>
                <c:pt idx="3">
                  <c:v>10.706</c:v>
                </c:pt>
                <c:pt idx="4">
                  <c:v>10.1</c:v>
                </c:pt>
                <c:pt idx="5">
                  <c:v>10.605</c:v>
                </c:pt>
                <c:pt idx="6">
                  <c:v>10.1</c:v>
                </c:pt>
                <c:pt idx="7">
                  <c:v>10.706</c:v>
                </c:pt>
                <c:pt idx="8">
                  <c:v>10.1</c:v>
                </c:pt>
                <c:pt idx="9">
                  <c:v>10.605</c:v>
                </c:pt>
                <c:pt idx="10">
                  <c:v>10.302</c:v>
                </c:pt>
                <c:pt idx="11">
                  <c:v>10.605</c:v>
                </c:pt>
                <c:pt idx="12">
                  <c:v>10.1</c:v>
                </c:pt>
                <c:pt idx="13">
                  <c:v>10.1</c:v>
                </c:pt>
                <c:pt idx="14">
                  <c:v>10.706</c:v>
                </c:pt>
                <c:pt idx="15">
                  <c:v>10.1</c:v>
                </c:pt>
                <c:pt idx="16">
                  <c:v>10.605</c:v>
                </c:pt>
                <c:pt idx="17">
                  <c:v>10.302</c:v>
                </c:pt>
                <c:pt idx="18">
                  <c:v>10.302</c:v>
                </c:pt>
                <c:pt idx="19">
                  <c:v>10.504000000000001</c:v>
                </c:pt>
                <c:pt idx="20">
                  <c:v>10.201000000000001</c:v>
                </c:pt>
                <c:pt idx="21">
                  <c:v>10.504000000000001</c:v>
                </c:pt>
                <c:pt idx="22">
                  <c:v>10.706</c:v>
                </c:pt>
                <c:pt idx="23">
                  <c:v>10.403</c:v>
                </c:pt>
                <c:pt idx="24">
                  <c:v>10.403</c:v>
                </c:pt>
                <c:pt idx="25">
                  <c:v>10.403</c:v>
                </c:pt>
                <c:pt idx="26">
                  <c:v>10.302</c:v>
                </c:pt>
                <c:pt idx="27">
                  <c:v>10.403</c:v>
                </c:pt>
                <c:pt idx="28">
                  <c:v>10.302</c:v>
                </c:pt>
                <c:pt idx="29">
                  <c:v>10.302</c:v>
                </c:pt>
                <c:pt idx="30">
                  <c:v>10.605</c:v>
                </c:pt>
                <c:pt idx="31">
                  <c:v>10.706</c:v>
                </c:pt>
                <c:pt idx="32">
                  <c:v>10.706</c:v>
                </c:pt>
                <c:pt idx="33">
                  <c:v>11.009</c:v>
                </c:pt>
                <c:pt idx="34">
                  <c:v>10.605</c:v>
                </c:pt>
                <c:pt idx="35">
                  <c:v>10.706</c:v>
                </c:pt>
                <c:pt idx="36">
                  <c:v>10.605</c:v>
                </c:pt>
                <c:pt idx="37">
                  <c:v>10.605</c:v>
                </c:pt>
                <c:pt idx="38">
                  <c:v>10.201000000000001</c:v>
                </c:pt>
                <c:pt idx="39">
                  <c:v>10.302</c:v>
                </c:pt>
                <c:pt idx="40">
                  <c:v>11.009</c:v>
                </c:pt>
                <c:pt idx="41">
                  <c:v>10.605</c:v>
                </c:pt>
                <c:pt idx="42">
                  <c:v>10.302</c:v>
                </c:pt>
                <c:pt idx="43">
                  <c:v>10.504000000000001</c:v>
                </c:pt>
                <c:pt idx="44">
                  <c:v>10.403</c:v>
                </c:pt>
                <c:pt idx="45">
                  <c:v>10.605</c:v>
                </c:pt>
                <c:pt idx="46">
                  <c:v>10.302</c:v>
                </c:pt>
                <c:pt idx="47">
                  <c:v>10.201000000000001</c:v>
                </c:pt>
                <c:pt idx="48">
                  <c:v>9.7969999999999988</c:v>
                </c:pt>
                <c:pt idx="49">
                  <c:v>9.7969999999999988</c:v>
                </c:pt>
                <c:pt idx="50">
                  <c:v>10.605</c:v>
                </c:pt>
                <c:pt idx="51">
                  <c:v>9.7969999999999988</c:v>
                </c:pt>
                <c:pt idx="52">
                  <c:v>9.7969999999999988</c:v>
                </c:pt>
                <c:pt idx="53">
                  <c:v>10.302</c:v>
                </c:pt>
                <c:pt idx="54">
                  <c:v>11.009</c:v>
                </c:pt>
                <c:pt idx="55">
                  <c:v>10.605</c:v>
                </c:pt>
                <c:pt idx="56">
                  <c:v>10.605</c:v>
                </c:pt>
                <c:pt idx="57">
                  <c:v>11.009</c:v>
                </c:pt>
                <c:pt idx="58">
                  <c:v>10.605</c:v>
                </c:pt>
                <c:pt idx="59">
                  <c:v>9.7969999999999988</c:v>
                </c:pt>
                <c:pt idx="60">
                  <c:v>10.201000000000001</c:v>
                </c:pt>
                <c:pt idx="61">
                  <c:v>10.403</c:v>
                </c:pt>
                <c:pt idx="62">
                  <c:v>11.009</c:v>
                </c:pt>
                <c:pt idx="63">
                  <c:v>10.706</c:v>
                </c:pt>
                <c:pt idx="64">
                  <c:v>10.706</c:v>
                </c:pt>
                <c:pt idx="65">
                  <c:v>10.302</c:v>
                </c:pt>
                <c:pt idx="66">
                  <c:v>10.403</c:v>
                </c:pt>
                <c:pt idx="67">
                  <c:v>10.201000000000001</c:v>
                </c:pt>
                <c:pt idx="68">
                  <c:v>10.605</c:v>
                </c:pt>
                <c:pt idx="69">
                  <c:v>10.706</c:v>
                </c:pt>
                <c:pt idx="70">
                  <c:v>10.201000000000001</c:v>
                </c:pt>
                <c:pt idx="71">
                  <c:v>10.605</c:v>
                </c:pt>
                <c:pt idx="72">
                  <c:v>10.706</c:v>
                </c:pt>
                <c:pt idx="73">
                  <c:v>10.302</c:v>
                </c:pt>
                <c:pt idx="74">
                  <c:v>10.403</c:v>
                </c:pt>
                <c:pt idx="75">
                  <c:v>10.302</c:v>
                </c:pt>
                <c:pt idx="76">
                  <c:v>10.605</c:v>
                </c:pt>
                <c:pt idx="77">
                  <c:v>10.605</c:v>
                </c:pt>
                <c:pt idx="78">
                  <c:v>10.403</c:v>
                </c:pt>
                <c:pt idx="79">
                  <c:v>10.403</c:v>
                </c:pt>
                <c:pt idx="80">
                  <c:v>10.403</c:v>
                </c:pt>
                <c:pt idx="81">
                  <c:v>10.706</c:v>
                </c:pt>
                <c:pt idx="82">
                  <c:v>10.605</c:v>
                </c:pt>
                <c:pt idx="83">
                  <c:v>10.403</c:v>
                </c:pt>
                <c:pt idx="84">
                  <c:v>10.302</c:v>
                </c:pt>
                <c:pt idx="85">
                  <c:v>10.201000000000001</c:v>
                </c:pt>
                <c:pt idx="86">
                  <c:v>10.201000000000001</c:v>
                </c:pt>
                <c:pt idx="87">
                  <c:v>10.605</c:v>
                </c:pt>
                <c:pt idx="88">
                  <c:v>10.403</c:v>
                </c:pt>
                <c:pt idx="89">
                  <c:v>10.201000000000001</c:v>
                </c:pt>
                <c:pt idx="90">
                  <c:v>11.009</c:v>
                </c:pt>
                <c:pt idx="91">
                  <c:v>10.302</c:v>
                </c:pt>
                <c:pt idx="92">
                  <c:v>9.7969999999999988</c:v>
                </c:pt>
                <c:pt idx="93">
                  <c:v>10.302</c:v>
                </c:pt>
                <c:pt idx="94">
                  <c:v>10.403</c:v>
                </c:pt>
                <c:pt idx="95">
                  <c:v>10.403</c:v>
                </c:pt>
                <c:pt idx="96">
                  <c:v>10.403</c:v>
                </c:pt>
                <c:pt idx="97">
                  <c:v>10.605</c:v>
                </c:pt>
                <c:pt idx="98">
                  <c:v>10.605</c:v>
                </c:pt>
                <c:pt idx="99">
                  <c:v>10.605</c:v>
                </c:pt>
                <c:pt idx="100">
                  <c:v>10.403</c:v>
                </c:pt>
                <c:pt idx="101">
                  <c:v>10.201000000000001</c:v>
                </c:pt>
                <c:pt idx="102">
                  <c:v>10.201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B40-485B-8A80-73E1ED5415A3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CY$2</c:f>
              <c:numCache>
                <c:formatCode>General</c:formatCode>
                <c:ptCount val="103"/>
                <c:pt idx="0">
                  <c:v>10.11</c:v>
                </c:pt>
                <c:pt idx="1">
                  <c:v>9.9600000000000009</c:v>
                </c:pt>
                <c:pt idx="2">
                  <c:v>10.41</c:v>
                </c:pt>
                <c:pt idx="3">
                  <c:v>10.41</c:v>
                </c:pt>
                <c:pt idx="4">
                  <c:v>11.04</c:v>
                </c:pt>
                <c:pt idx="5">
                  <c:v>10</c:v>
                </c:pt>
                <c:pt idx="6">
                  <c:v>10.210000000000001</c:v>
                </c:pt>
                <c:pt idx="7">
                  <c:v>10.59</c:v>
                </c:pt>
                <c:pt idx="8">
                  <c:v>10.23</c:v>
                </c:pt>
                <c:pt idx="9">
                  <c:v>10.29</c:v>
                </c:pt>
                <c:pt idx="10">
                  <c:v>10.59</c:v>
                </c:pt>
                <c:pt idx="11">
                  <c:v>10.27</c:v>
                </c:pt>
                <c:pt idx="12">
                  <c:v>10</c:v>
                </c:pt>
                <c:pt idx="13">
                  <c:v>10.8</c:v>
                </c:pt>
                <c:pt idx="14">
                  <c:v>11.68</c:v>
                </c:pt>
                <c:pt idx="15">
                  <c:v>10.02</c:v>
                </c:pt>
                <c:pt idx="16">
                  <c:v>10.18</c:v>
                </c:pt>
                <c:pt idx="17">
                  <c:v>8.2799999999999994</c:v>
                </c:pt>
                <c:pt idx="18">
                  <c:v>9.84</c:v>
                </c:pt>
                <c:pt idx="19">
                  <c:v>9.56</c:v>
                </c:pt>
                <c:pt idx="20">
                  <c:v>10.49</c:v>
                </c:pt>
                <c:pt idx="21">
                  <c:v>10.82</c:v>
                </c:pt>
                <c:pt idx="22">
                  <c:v>10.78</c:v>
                </c:pt>
                <c:pt idx="23">
                  <c:v>9.9</c:v>
                </c:pt>
                <c:pt idx="24">
                  <c:v>10.84</c:v>
                </c:pt>
                <c:pt idx="25">
                  <c:v>10.45</c:v>
                </c:pt>
                <c:pt idx="26">
                  <c:v>10.78</c:v>
                </c:pt>
                <c:pt idx="27">
                  <c:v>9.7100000000000009</c:v>
                </c:pt>
                <c:pt idx="28">
                  <c:v>10.25</c:v>
                </c:pt>
                <c:pt idx="29">
                  <c:v>11.34</c:v>
                </c:pt>
                <c:pt idx="30">
                  <c:v>9.89</c:v>
                </c:pt>
                <c:pt idx="31">
                  <c:v>10.51</c:v>
                </c:pt>
                <c:pt idx="32">
                  <c:v>10.33</c:v>
                </c:pt>
                <c:pt idx="33">
                  <c:v>11.12</c:v>
                </c:pt>
                <c:pt idx="34">
                  <c:v>10.17</c:v>
                </c:pt>
                <c:pt idx="35">
                  <c:v>10.51</c:v>
                </c:pt>
                <c:pt idx="36">
                  <c:v>10.51</c:v>
                </c:pt>
                <c:pt idx="37">
                  <c:v>10.130000000000001</c:v>
                </c:pt>
                <c:pt idx="38">
                  <c:v>10.76</c:v>
                </c:pt>
                <c:pt idx="39">
                  <c:v>10.58</c:v>
                </c:pt>
                <c:pt idx="40">
                  <c:v>11.07</c:v>
                </c:pt>
                <c:pt idx="41">
                  <c:v>10.42</c:v>
                </c:pt>
                <c:pt idx="42">
                  <c:v>10.6</c:v>
                </c:pt>
                <c:pt idx="43">
                  <c:v>10.41</c:v>
                </c:pt>
                <c:pt idx="44">
                  <c:v>10.77</c:v>
                </c:pt>
                <c:pt idx="45">
                  <c:v>10.31</c:v>
                </c:pt>
                <c:pt idx="46">
                  <c:v>9.6999999999999993</c:v>
                </c:pt>
                <c:pt idx="47">
                  <c:v>10.31</c:v>
                </c:pt>
                <c:pt idx="48">
                  <c:v>11.09</c:v>
                </c:pt>
                <c:pt idx="49">
                  <c:v>10.77</c:v>
                </c:pt>
                <c:pt idx="50">
                  <c:v>11.01</c:v>
                </c:pt>
                <c:pt idx="51">
                  <c:v>10.06</c:v>
                </c:pt>
                <c:pt idx="52">
                  <c:v>11.58</c:v>
                </c:pt>
                <c:pt idx="53">
                  <c:v>11.63</c:v>
                </c:pt>
                <c:pt idx="54">
                  <c:v>11.29</c:v>
                </c:pt>
                <c:pt idx="55">
                  <c:v>11.11</c:v>
                </c:pt>
                <c:pt idx="56">
                  <c:v>10.63</c:v>
                </c:pt>
                <c:pt idx="57">
                  <c:v>10.92</c:v>
                </c:pt>
                <c:pt idx="58">
                  <c:v>10.37</c:v>
                </c:pt>
                <c:pt idx="59">
                  <c:v>10.72</c:v>
                </c:pt>
                <c:pt idx="60">
                  <c:v>10.66</c:v>
                </c:pt>
                <c:pt idx="61">
                  <c:v>10.67</c:v>
                </c:pt>
                <c:pt idx="62">
                  <c:v>11.08</c:v>
                </c:pt>
                <c:pt idx="63">
                  <c:v>11.04</c:v>
                </c:pt>
                <c:pt idx="64">
                  <c:v>11.57</c:v>
                </c:pt>
                <c:pt idx="65">
                  <c:v>10.97</c:v>
                </c:pt>
                <c:pt idx="66">
                  <c:v>10.8</c:v>
                </c:pt>
                <c:pt idx="67">
                  <c:v>10.53</c:v>
                </c:pt>
                <c:pt idx="68">
                  <c:v>10.81</c:v>
                </c:pt>
                <c:pt idx="69">
                  <c:v>11</c:v>
                </c:pt>
                <c:pt idx="70">
                  <c:v>10.97</c:v>
                </c:pt>
                <c:pt idx="71">
                  <c:v>10.79</c:v>
                </c:pt>
                <c:pt idx="72">
                  <c:v>11.14</c:v>
                </c:pt>
                <c:pt idx="73">
                  <c:v>10.87</c:v>
                </c:pt>
                <c:pt idx="74">
                  <c:v>11.04</c:v>
                </c:pt>
                <c:pt idx="75">
                  <c:v>9.23</c:v>
                </c:pt>
                <c:pt idx="76">
                  <c:v>10.84</c:v>
                </c:pt>
                <c:pt idx="77">
                  <c:v>12.3</c:v>
                </c:pt>
                <c:pt idx="78">
                  <c:v>10.77</c:v>
                </c:pt>
                <c:pt idx="79">
                  <c:v>11.48</c:v>
                </c:pt>
                <c:pt idx="80">
                  <c:v>11.43</c:v>
                </c:pt>
                <c:pt idx="81">
                  <c:v>11.73</c:v>
                </c:pt>
                <c:pt idx="82">
                  <c:v>10.87</c:v>
                </c:pt>
                <c:pt idx="83">
                  <c:v>10.89</c:v>
                </c:pt>
                <c:pt idx="84">
                  <c:v>10.69</c:v>
                </c:pt>
                <c:pt idx="85">
                  <c:v>10.87</c:v>
                </c:pt>
                <c:pt idx="86">
                  <c:v>11.25</c:v>
                </c:pt>
                <c:pt idx="87">
                  <c:v>10.56</c:v>
                </c:pt>
                <c:pt idx="88">
                  <c:v>11.22</c:v>
                </c:pt>
                <c:pt idx="89">
                  <c:v>10.96</c:v>
                </c:pt>
                <c:pt idx="90">
                  <c:v>10.87</c:v>
                </c:pt>
                <c:pt idx="91">
                  <c:v>10.6</c:v>
                </c:pt>
                <c:pt idx="92">
                  <c:v>10.57</c:v>
                </c:pt>
                <c:pt idx="93">
                  <c:v>10.63</c:v>
                </c:pt>
                <c:pt idx="94">
                  <c:v>10.77</c:v>
                </c:pt>
                <c:pt idx="95">
                  <c:v>11.8</c:v>
                </c:pt>
                <c:pt idx="96">
                  <c:v>11.06</c:v>
                </c:pt>
                <c:pt idx="97">
                  <c:v>11.11</c:v>
                </c:pt>
                <c:pt idx="98">
                  <c:v>11.02</c:v>
                </c:pt>
                <c:pt idx="99">
                  <c:v>10.38</c:v>
                </c:pt>
                <c:pt idx="100">
                  <c:v>10.89</c:v>
                </c:pt>
                <c:pt idx="101">
                  <c:v>10.8</c:v>
                </c:pt>
                <c:pt idx="102">
                  <c:v>10.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B40-485B-8A80-73E1ED5415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89697544"/>
        <c:axId val="1"/>
      </c:lineChart>
      <c:catAx>
        <c:axId val="9896975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"/>
          <c:min val="8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89697544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2076288380900851E-2"/>
          <c:y val="8.0246913580246909E-2"/>
          <c:w val="0.94089003111050995"/>
          <c:h val="0.83950617283950613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1:$Q$1</c:f>
              <c:numCache>
                <c:formatCode>General</c:formatCode>
                <c:ptCount val="17"/>
                <c:pt idx="0">
                  <c:v>10</c:v>
                </c:pt>
                <c:pt idx="1">
                  <c:v>10.9</c:v>
                </c:pt>
                <c:pt idx="2">
                  <c:v>10.6</c:v>
                </c:pt>
                <c:pt idx="3">
                  <c:v>10.6</c:v>
                </c:pt>
                <c:pt idx="4">
                  <c:v>10</c:v>
                </c:pt>
                <c:pt idx="5">
                  <c:v>10.5</c:v>
                </c:pt>
                <c:pt idx="6">
                  <c:v>10</c:v>
                </c:pt>
                <c:pt idx="7">
                  <c:v>10.6</c:v>
                </c:pt>
                <c:pt idx="8">
                  <c:v>10</c:v>
                </c:pt>
                <c:pt idx="9">
                  <c:v>10.5</c:v>
                </c:pt>
                <c:pt idx="10">
                  <c:v>10.199999999999999</c:v>
                </c:pt>
                <c:pt idx="11">
                  <c:v>10.5</c:v>
                </c:pt>
                <c:pt idx="12">
                  <c:v>10</c:v>
                </c:pt>
                <c:pt idx="13">
                  <c:v>10</c:v>
                </c:pt>
                <c:pt idx="14">
                  <c:v>10.6</c:v>
                </c:pt>
                <c:pt idx="15">
                  <c:v>10</c:v>
                </c:pt>
                <c:pt idx="16">
                  <c:v>10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8D8-4761-8FCF-561DB0D23C12}"/>
            </c:ext>
          </c:extLst>
        </c:ser>
        <c:ser>
          <c:idx val="1"/>
          <c:order val="1"/>
          <c:spPr>
            <a:ln w="19050" cmpd="sng" algn="ctr">
              <a:solidFill>
                <a:srgbClr val="D6D7D9"/>
              </a:solidFill>
              <a:prstDash val="solid"/>
            </a:ln>
          </c:spPr>
          <c:marker>
            <c:symbol val="none"/>
          </c:marker>
          <c:val>
            <c:numRef>
              <c:f>Sheet1!$A$2:$Q$2</c:f>
              <c:numCache>
                <c:formatCode>General</c:formatCode>
                <c:ptCount val="17"/>
                <c:pt idx="0">
                  <c:v>10.55</c:v>
                </c:pt>
                <c:pt idx="1">
                  <c:v>11.450000000000001</c:v>
                </c:pt>
                <c:pt idx="2">
                  <c:v>11.15</c:v>
                </c:pt>
                <c:pt idx="3">
                  <c:v>11.15</c:v>
                </c:pt>
                <c:pt idx="4">
                  <c:v>10.55</c:v>
                </c:pt>
                <c:pt idx="5">
                  <c:v>11.05</c:v>
                </c:pt>
                <c:pt idx="6">
                  <c:v>10.55</c:v>
                </c:pt>
                <c:pt idx="7">
                  <c:v>11.15</c:v>
                </c:pt>
                <c:pt idx="8">
                  <c:v>10.55</c:v>
                </c:pt>
                <c:pt idx="9">
                  <c:v>11.05</c:v>
                </c:pt>
                <c:pt idx="10">
                  <c:v>10.75</c:v>
                </c:pt>
                <c:pt idx="11">
                  <c:v>11.05</c:v>
                </c:pt>
                <c:pt idx="12">
                  <c:v>10.55</c:v>
                </c:pt>
                <c:pt idx="13">
                  <c:v>10.55</c:v>
                </c:pt>
                <c:pt idx="14">
                  <c:v>11.15</c:v>
                </c:pt>
                <c:pt idx="15">
                  <c:v>10.55</c:v>
                </c:pt>
                <c:pt idx="16">
                  <c:v>11.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8D8-4761-8FCF-561DB0D23C12}"/>
            </c:ext>
          </c:extLst>
        </c:ser>
        <c:ser>
          <c:idx val="2"/>
          <c:order val="2"/>
          <c:spPr>
            <a:ln w="19050" cmpd="sng" algn="ctr">
              <a:solidFill>
                <a:srgbClr val="C0C0C0"/>
              </a:solidFill>
              <a:prstDash val="solid"/>
            </a:ln>
          </c:spPr>
          <c:marker>
            <c:symbol val="none"/>
          </c:marker>
          <c:val>
            <c:numRef>
              <c:f>Sheet1!$A$3:$Q$3</c:f>
              <c:numCache>
                <c:formatCode>General</c:formatCode>
                <c:ptCount val="17"/>
                <c:pt idx="0">
                  <c:v>9.4499999999999993</c:v>
                </c:pt>
                <c:pt idx="1">
                  <c:v>10.35</c:v>
                </c:pt>
                <c:pt idx="2">
                  <c:v>10.049999999999999</c:v>
                </c:pt>
                <c:pt idx="3">
                  <c:v>10.049999999999999</c:v>
                </c:pt>
                <c:pt idx="4">
                  <c:v>9.4499999999999993</c:v>
                </c:pt>
                <c:pt idx="5">
                  <c:v>9.9499999999999993</c:v>
                </c:pt>
                <c:pt idx="6">
                  <c:v>9.4499999999999993</c:v>
                </c:pt>
                <c:pt idx="7">
                  <c:v>10.049999999999999</c:v>
                </c:pt>
                <c:pt idx="8">
                  <c:v>9.4499999999999993</c:v>
                </c:pt>
                <c:pt idx="9">
                  <c:v>9.9499999999999993</c:v>
                </c:pt>
                <c:pt idx="10">
                  <c:v>9.6499999999999986</c:v>
                </c:pt>
                <c:pt idx="11">
                  <c:v>9.9499999999999993</c:v>
                </c:pt>
                <c:pt idx="12">
                  <c:v>9.4499999999999993</c:v>
                </c:pt>
                <c:pt idx="13">
                  <c:v>9.4499999999999993</c:v>
                </c:pt>
                <c:pt idx="14">
                  <c:v>10.049999999999999</c:v>
                </c:pt>
                <c:pt idx="15">
                  <c:v>9.4499999999999993</c:v>
                </c:pt>
                <c:pt idx="16">
                  <c:v>9.9499999999999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8D8-4761-8FCF-561DB0D23C12}"/>
            </c:ext>
          </c:extLst>
        </c:ser>
        <c:ser>
          <c:idx val="3"/>
          <c:order val="3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4:$Q$4</c:f>
              <c:numCache>
                <c:formatCode>General</c:formatCode>
                <c:ptCount val="17"/>
                <c:pt idx="0">
                  <c:v>10.11</c:v>
                </c:pt>
                <c:pt idx="1">
                  <c:v>9.9600000000000009</c:v>
                </c:pt>
                <c:pt idx="2">
                  <c:v>10.41</c:v>
                </c:pt>
                <c:pt idx="3">
                  <c:v>10.41</c:v>
                </c:pt>
                <c:pt idx="4">
                  <c:v>11.04</c:v>
                </c:pt>
                <c:pt idx="5">
                  <c:v>10</c:v>
                </c:pt>
                <c:pt idx="6">
                  <c:v>10.210000000000001</c:v>
                </c:pt>
                <c:pt idx="7">
                  <c:v>10.59</c:v>
                </c:pt>
                <c:pt idx="8">
                  <c:v>10.23</c:v>
                </c:pt>
                <c:pt idx="9">
                  <c:v>10.29</c:v>
                </c:pt>
                <c:pt idx="10">
                  <c:v>10.59</c:v>
                </c:pt>
                <c:pt idx="11">
                  <c:v>10.27</c:v>
                </c:pt>
                <c:pt idx="12">
                  <c:v>10</c:v>
                </c:pt>
                <c:pt idx="13">
                  <c:v>10.8</c:v>
                </c:pt>
                <c:pt idx="14">
                  <c:v>11.68</c:v>
                </c:pt>
                <c:pt idx="15">
                  <c:v>10.02</c:v>
                </c:pt>
                <c:pt idx="16">
                  <c:v>10.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8D8-4761-8FCF-561DB0D23C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74935224"/>
        <c:axId val="1"/>
      </c:lineChart>
      <c:catAx>
        <c:axId val="14749352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"/>
          <c:min val="9"/>
        </c:scaling>
        <c:delete val="0"/>
        <c:axPos val="l"/>
        <c:majorGridlines>
          <c:spPr>
            <a:ln>
              <a:noFill/>
            </a:ln>
          </c:spPr>
        </c:majorGridlines>
        <c:numFmt formatCode="0.0;&quot;-&quot;0.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74935224"/>
        <c:crosses val="min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2076288380900851E-2"/>
          <c:y val="8.6436170212765964E-2"/>
          <c:w val="0.94089003111050995"/>
          <c:h val="0.8271276595744681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1:$Q$1</c:f>
              <c:numCache>
                <c:formatCode>General</c:formatCode>
                <c:ptCount val="17"/>
                <c:pt idx="0">
                  <c:v>10.1</c:v>
                </c:pt>
                <c:pt idx="1">
                  <c:v>11.009</c:v>
                </c:pt>
                <c:pt idx="2">
                  <c:v>10.706</c:v>
                </c:pt>
                <c:pt idx="3">
                  <c:v>10.706</c:v>
                </c:pt>
                <c:pt idx="4">
                  <c:v>10.1</c:v>
                </c:pt>
                <c:pt idx="5">
                  <c:v>10.605</c:v>
                </c:pt>
                <c:pt idx="6">
                  <c:v>10.1</c:v>
                </c:pt>
                <c:pt idx="7">
                  <c:v>10.706</c:v>
                </c:pt>
                <c:pt idx="8">
                  <c:v>10.1</c:v>
                </c:pt>
                <c:pt idx="9">
                  <c:v>10.605</c:v>
                </c:pt>
                <c:pt idx="10">
                  <c:v>10.302</c:v>
                </c:pt>
                <c:pt idx="11">
                  <c:v>10.605</c:v>
                </c:pt>
                <c:pt idx="12">
                  <c:v>10.1</c:v>
                </c:pt>
                <c:pt idx="13">
                  <c:v>10.1</c:v>
                </c:pt>
                <c:pt idx="14">
                  <c:v>10.706</c:v>
                </c:pt>
                <c:pt idx="15">
                  <c:v>10.1</c:v>
                </c:pt>
                <c:pt idx="16">
                  <c:v>10.6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A6F-4727-91DF-97B3596ECD12}"/>
            </c:ext>
          </c:extLst>
        </c:ser>
        <c:ser>
          <c:idx val="1"/>
          <c:order val="1"/>
          <c:spPr>
            <a:ln w="19050" cmpd="sng" algn="ctr">
              <a:solidFill>
                <a:srgbClr val="C0C0C0"/>
              </a:solidFill>
              <a:prstDash val="solid"/>
            </a:ln>
          </c:spPr>
          <c:marker>
            <c:symbol val="none"/>
          </c:marker>
          <c:val>
            <c:numRef>
              <c:f>Sheet1!$A$2:$Q$2</c:f>
              <c:numCache>
                <c:formatCode>General</c:formatCode>
                <c:ptCount val="17"/>
                <c:pt idx="0">
                  <c:v>10.65</c:v>
                </c:pt>
                <c:pt idx="1">
                  <c:v>11.559000000000001</c:v>
                </c:pt>
                <c:pt idx="2">
                  <c:v>11.256</c:v>
                </c:pt>
                <c:pt idx="3">
                  <c:v>11.256</c:v>
                </c:pt>
                <c:pt idx="4">
                  <c:v>10.65</c:v>
                </c:pt>
                <c:pt idx="5">
                  <c:v>11.155000000000001</c:v>
                </c:pt>
                <c:pt idx="6">
                  <c:v>10.65</c:v>
                </c:pt>
                <c:pt idx="7">
                  <c:v>11.256</c:v>
                </c:pt>
                <c:pt idx="8">
                  <c:v>10.65</c:v>
                </c:pt>
                <c:pt idx="9">
                  <c:v>11.155000000000001</c:v>
                </c:pt>
                <c:pt idx="10">
                  <c:v>10.852</c:v>
                </c:pt>
                <c:pt idx="11">
                  <c:v>11.155000000000001</c:v>
                </c:pt>
                <c:pt idx="12">
                  <c:v>10.65</c:v>
                </c:pt>
                <c:pt idx="13">
                  <c:v>10.65</c:v>
                </c:pt>
                <c:pt idx="14">
                  <c:v>11.256</c:v>
                </c:pt>
                <c:pt idx="15">
                  <c:v>10.65</c:v>
                </c:pt>
                <c:pt idx="16">
                  <c:v>11.155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A6F-4727-91DF-97B3596ECD12}"/>
            </c:ext>
          </c:extLst>
        </c:ser>
        <c:ser>
          <c:idx val="2"/>
          <c:order val="2"/>
          <c:spPr>
            <a:ln w="19050" cmpd="sng" algn="ctr">
              <a:solidFill>
                <a:srgbClr val="C0C0C0"/>
              </a:solidFill>
              <a:prstDash val="solid"/>
            </a:ln>
          </c:spPr>
          <c:marker>
            <c:symbol val="none"/>
          </c:marker>
          <c:val>
            <c:numRef>
              <c:f>Sheet1!$A$3:$Q$3</c:f>
              <c:numCache>
                <c:formatCode>General</c:formatCode>
                <c:ptCount val="17"/>
                <c:pt idx="0">
                  <c:v>9.5499999999999989</c:v>
                </c:pt>
                <c:pt idx="1">
                  <c:v>10.459</c:v>
                </c:pt>
                <c:pt idx="2">
                  <c:v>10.155999999999999</c:v>
                </c:pt>
                <c:pt idx="3">
                  <c:v>10.155999999999999</c:v>
                </c:pt>
                <c:pt idx="4">
                  <c:v>9.5499999999999989</c:v>
                </c:pt>
                <c:pt idx="5">
                  <c:v>10.055</c:v>
                </c:pt>
                <c:pt idx="6">
                  <c:v>9.5499999999999989</c:v>
                </c:pt>
                <c:pt idx="7">
                  <c:v>10.155999999999999</c:v>
                </c:pt>
                <c:pt idx="8">
                  <c:v>9.5499999999999989</c:v>
                </c:pt>
                <c:pt idx="9">
                  <c:v>10.055</c:v>
                </c:pt>
                <c:pt idx="10">
                  <c:v>9.7519999999999989</c:v>
                </c:pt>
                <c:pt idx="11">
                  <c:v>10.055</c:v>
                </c:pt>
                <c:pt idx="12">
                  <c:v>9.5499999999999989</c:v>
                </c:pt>
                <c:pt idx="13">
                  <c:v>9.5499999999999989</c:v>
                </c:pt>
                <c:pt idx="14">
                  <c:v>10.155999999999999</c:v>
                </c:pt>
                <c:pt idx="15">
                  <c:v>9.5499999999999989</c:v>
                </c:pt>
                <c:pt idx="16">
                  <c:v>10.0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A6F-4727-91DF-97B3596ECD12}"/>
            </c:ext>
          </c:extLst>
        </c:ser>
        <c:ser>
          <c:idx val="3"/>
          <c:order val="3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4:$Q$4</c:f>
              <c:numCache>
                <c:formatCode>General</c:formatCode>
                <c:ptCount val="17"/>
                <c:pt idx="0">
                  <c:v>10.11</c:v>
                </c:pt>
                <c:pt idx="1">
                  <c:v>9.9600000000000009</c:v>
                </c:pt>
                <c:pt idx="2">
                  <c:v>10.41</c:v>
                </c:pt>
                <c:pt idx="3">
                  <c:v>10.41</c:v>
                </c:pt>
                <c:pt idx="4">
                  <c:v>11.04</c:v>
                </c:pt>
                <c:pt idx="5">
                  <c:v>10</c:v>
                </c:pt>
                <c:pt idx="6">
                  <c:v>10.210000000000001</c:v>
                </c:pt>
                <c:pt idx="7">
                  <c:v>10.59</c:v>
                </c:pt>
                <c:pt idx="8">
                  <c:v>10.23</c:v>
                </c:pt>
                <c:pt idx="9">
                  <c:v>10.29</c:v>
                </c:pt>
                <c:pt idx="10">
                  <c:v>10.59</c:v>
                </c:pt>
                <c:pt idx="11">
                  <c:v>10.27</c:v>
                </c:pt>
                <c:pt idx="12">
                  <c:v>10</c:v>
                </c:pt>
                <c:pt idx="13">
                  <c:v>10.8</c:v>
                </c:pt>
                <c:pt idx="14">
                  <c:v>11.68</c:v>
                </c:pt>
                <c:pt idx="15">
                  <c:v>10.02</c:v>
                </c:pt>
                <c:pt idx="16">
                  <c:v>10.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A6F-4727-91DF-97B3596ECD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27788344"/>
        <c:axId val="1"/>
      </c:lineChart>
      <c:catAx>
        <c:axId val="17277883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"/>
          <c:min val="9"/>
        </c:scaling>
        <c:delete val="0"/>
        <c:axPos val="l"/>
        <c:majorGridlines>
          <c:spPr>
            <a:ln>
              <a:noFill/>
            </a:ln>
          </c:spPr>
        </c:majorGridlines>
        <c:numFmt formatCode="0.0;&quot;-&quot;0.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27788344"/>
        <c:crosses val="min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1803013993541445E-2"/>
          <c:y val="7.9462102689486558E-2"/>
          <c:w val="0.94120021528525299"/>
          <c:h val="0.84107579462102688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-6.1735941320293398E-2"/>
                </c:manualLayout>
              </c:layout>
              <c:numFmt formatCode="0.00;&quot;-&quot;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0D6-4B7E-A015-9C2B05BFD28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AB$1</c:f>
              <c:numCache>
                <c:formatCode>General</c:formatCode>
                <c:ptCount val="28"/>
                <c:pt idx="0">
                  <c:v>10.199999999999999</c:v>
                </c:pt>
                <c:pt idx="1">
                  <c:v>10.4</c:v>
                </c:pt>
                <c:pt idx="2">
                  <c:v>10.1</c:v>
                </c:pt>
                <c:pt idx="3">
                  <c:v>10.4</c:v>
                </c:pt>
                <c:pt idx="4">
                  <c:v>10.6</c:v>
                </c:pt>
                <c:pt idx="5">
                  <c:v>10.3</c:v>
                </c:pt>
                <c:pt idx="6">
                  <c:v>10.3</c:v>
                </c:pt>
                <c:pt idx="7">
                  <c:v>10.3</c:v>
                </c:pt>
                <c:pt idx="8">
                  <c:v>10.199999999999999</c:v>
                </c:pt>
                <c:pt idx="9">
                  <c:v>10.3</c:v>
                </c:pt>
                <c:pt idx="10">
                  <c:v>10.199999999999999</c:v>
                </c:pt>
                <c:pt idx="11">
                  <c:v>10.199999999999999</c:v>
                </c:pt>
                <c:pt idx="12">
                  <c:v>10.5</c:v>
                </c:pt>
                <c:pt idx="13">
                  <c:v>10.6</c:v>
                </c:pt>
                <c:pt idx="14">
                  <c:v>10.6</c:v>
                </c:pt>
                <c:pt idx="15">
                  <c:v>10.9</c:v>
                </c:pt>
                <c:pt idx="16">
                  <c:v>10.5</c:v>
                </c:pt>
                <c:pt idx="17">
                  <c:v>10.6</c:v>
                </c:pt>
                <c:pt idx="18">
                  <c:v>10.5</c:v>
                </c:pt>
                <c:pt idx="19">
                  <c:v>10.5</c:v>
                </c:pt>
                <c:pt idx="20">
                  <c:v>10.1</c:v>
                </c:pt>
                <c:pt idx="21">
                  <c:v>10.199999999999999</c:v>
                </c:pt>
                <c:pt idx="22">
                  <c:v>10.9</c:v>
                </c:pt>
                <c:pt idx="23">
                  <c:v>10.5</c:v>
                </c:pt>
                <c:pt idx="24">
                  <c:v>10.199999999999999</c:v>
                </c:pt>
                <c:pt idx="25">
                  <c:v>10.4</c:v>
                </c:pt>
                <c:pt idx="26">
                  <c:v>10.3</c:v>
                </c:pt>
                <c:pt idx="27">
                  <c:v>10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0D6-4B7E-A015-9C2B05BFD287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AB$2</c:f>
              <c:numCache>
                <c:formatCode>General</c:formatCode>
                <c:ptCount val="28"/>
                <c:pt idx="0">
                  <c:v>9.84</c:v>
                </c:pt>
                <c:pt idx="1">
                  <c:v>9.56</c:v>
                </c:pt>
                <c:pt idx="2">
                  <c:v>10.49</c:v>
                </c:pt>
                <c:pt idx="3">
                  <c:v>10.82</c:v>
                </c:pt>
                <c:pt idx="4">
                  <c:v>10.78</c:v>
                </c:pt>
                <c:pt idx="5">
                  <c:v>9.9</c:v>
                </c:pt>
                <c:pt idx="6">
                  <c:v>10.84</c:v>
                </c:pt>
                <c:pt idx="7">
                  <c:v>10.45</c:v>
                </c:pt>
                <c:pt idx="8">
                  <c:v>10.78</c:v>
                </c:pt>
                <c:pt idx="9">
                  <c:v>9.7100000000000009</c:v>
                </c:pt>
                <c:pt idx="10">
                  <c:v>10.25</c:v>
                </c:pt>
                <c:pt idx="11">
                  <c:v>11.34</c:v>
                </c:pt>
                <c:pt idx="12">
                  <c:v>9.89</c:v>
                </c:pt>
                <c:pt idx="13">
                  <c:v>10.51</c:v>
                </c:pt>
                <c:pt idx="14">
                  <c:v>10.33</c:v>
                </c:pt>
                <c:pt idx="15">
                  <c:v>11.12</c:v>
                </c:pt>
                <c:pt idx="16">
                  <c:v>10.17</c:v>
                </c:pt>
                <c:pt idx="17">
                  <c:v>10.51</c:v>
                </c:pt>
                <c:pt idx="18">
                  <c:v>10.51</c:v>
                </c:pt>
                <c:pt idx="19">
                  <c:v>10.130000000000001</c:v>
                </c:pt>
                <c:pt idx="20">
                  <c:v>10.76</c:v>
                </c:pt>
                <c:pt idx="21">
                  <c:v>10.58</c:v>
                </c:pt>
                <c:pt idx="22">
                  <c:v>11.07</c:v>
                </c:pt>
                <c:pt idx="23">
                  <c:v>10.42</c:v>
                </c:pt>
                <c:pt idx="24">
                  <c:v>10.6</c:v>
                </c:pt>
                <c:pt idx="25">
                  <c:v>10.41</c:v>
                </c:pt>
                <c:pt idx="26">
                  <c:v>10.77</c:v>
                </c:pt>
                <c:pt idx="27">
                  <c:v>10.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0D6-4B7E-A015-9C2B05BFD287}"/>
            </c:ext>
          </c:extLst>
        </c:ser>
        <c:ser>
          <c:idx val="2"/>
          <c:order val="2"/>
          <c:spPr>
            <a:ln w="19050" cmpd="sng" algn="ctr">
              <a:solidFill>
                <a:srgbClr val="D6D7D9"/>
              </a:solidFill>
              <a:prstDash val="solid"/>
            </a:ln>
          </c:spPr>
          <c:marker>
            <c:symbol val="none"/>
          </c:marker>
          <c:val>
            <c:numRef>
              <c:f>Sheet1!$A$3:$AB$3</c:f>
              <c:numCache>
                <c:formatCode>General</c:formatCode>
                <c:ptCount val="28"/>
                <c:pt idx="0">
                  <c:v>10.75</c:v>
                </c:pt>
                <c:pt idx="1">
                  <c:v>10.950000000000001</c:v>
                </c:pt>
                <c:pt idx="2">
                  <c:v>10.65</c:v>
                </c:pt>
                <c:pt idx="3">
                  <c:v>10.950000000000001</c:v>
                </c:pt>
                <c:pt idx="4">
                  <c:v>11.15</c:v>
                </c:pt>
                <c:pt idx="5">
                  <c:v>10.850000000000001</c:v>
                </c:pt>
                <c:pt idx="6">
                  <c:v>10.850000000000001</c:v>
                </c:pt>
                <c:pt idx="7">
                  <c:v>10.850000000000001</c:v>
                </c:pt>
                <c:pt idx="8">
                  <c:v>10.75</c:v>
                </c:pt>
                <c:pt idx="9">
                  <c:v>10.850000000000001</c:v>
                </c:pt>
                <c:pt idx="10">
                  <c:v>10.75</c:v>
                </c:pt>
                <c:pt idx="11">
                  <c:v>10.75</c:v>
                </c:pt>
                <c:pt idx="12">
                  <c:v>11.05</c:v>
                </c:pt>
                <c:pt idx="13">
                  <c:v>11.15</c:v>
                </c:pt>
                <c:pt idx="14">
                  <c:v>11.15</c:v>
                </c:pt>
                <c:pt idx="15">
                  <c:v>11.450000000000001</c:v>
                </c:pt>
                <c:pt idx="16">
                  <c:v>11.05</c:v>
                </c:pt>
                <c:pt idx="17">
                  <c:v>11.15</c:v>
                </c:pt>
                <c:pt idx="18">
                  <c:v>11.05</c:v>
                </c:pt>
                <c:pt idx="19">
                  <c:v>11.05</c:v>
                </c:pt>
                <c:pt idx="20">
                  <c:v>10.65</c:v>
                </c:pt>
                <c:pt idx="21">
                  <c:v>10.75</c:v>
                </c:pt>
                <c:pt idx="22">
                  <c:v>11.450000000000001</c:v>
                </c:pt>
                <c:pt idx="23">
                  <c:v>11.05</c:v>
                </c:pt>
                <c:pt idx="24">
                  <c:v>10.75</c:v>
                </c:pt>
                <c:pt idx="25">
                  <c:v>10.950000000000001</c:v>
                </c:pt>
                <c:pt idx="26">
                  <c:v>10.850000000000001</c:v>
                </c:pt>
                <c:pt idx="27">
                  <c:v>11.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0D6-4B7E-A015-9C2B05BFD287}"/>
            </c:ext>
          </c:extLst>
        </c:ser>
        <c:ser>
          <c:idx val="3"/>
          <c:order val="3"/>
          <c:spPr>
            <a:ln w="19050" cmpd="sng" algn="ctr">
              <a:solidFill>
                <a:srgbClr val="C0C0C0"/>
              </a:solidFill>
              <a:prstDash val="solid"/>
            </a:ln>
          </c:spPr>
          <c:marker>
            <c:symbol val="none"/>
          </c:marker>
          <c:val>
            <c:numRef>
              <c:f>Sheet1!$A$4:$AB$4</c:f>
              <c:numCache>
                <c:formatCode>General</c:formatCode>
                <c:ptCount val="28"/>
                <c:pt idx="0">
                  <c:v>9.6499999999999986</c:v>
                </c:pt>
                <c:pt idx="1">
                  <c:v>9.85</c:v>
                </c:pt>
                <c:pt idx="2">
                  <c:v>9.5499999999999989</c:v>
                </c:pt>
                <c:pt idx="3">
                  <c:v>9.85</c:v>
                </c:pt>
                <c:pt idx="4">
                  <c:v>10.049999999999999</c:v>
                </c:pt>
                <c:pt idx="5">
                  <c:v>9.75</c:v>
                </c:pt>
                <c:pt idx="6">
                  <c:v>9.75</c:v>
                </c:pt>
                <c:pt idx="7">
                  <c:v>9.75</c:v>
                </c:pt>
                <c:pt idx="8">
                  <c:v>9.6499999999999986</c:v>
                </c:pt>
                <c:pt idx="9">
                  <c:v>9.75</c:v>
                </c:pt>
                <c:pt idx="10">
                  <c:v>9.6499999999999986</c:v>
                </c:pt>
                <c:pt idx="11">
                  <c:v>9.6499999999999986</c:v>
                </c:pt>
                <c:pt idx="12">
                  <c:v>9.9499999999999993</c:v>
                </c:pt>
                <c:pt idx="13">
                  <c:v>10.049999999999999</c:v>
                </c:pt>
                <c:pt idx="14">
                  <c:v>10.049999999999999</c:v>
                </c:pt>
                <c:pt idx="15">
                  <c:v>10.35</c:v>
                </c:pt>
                <c:pt idx="16">
                  <c:v>9.9499999999999993</c:v>
                </c:pt>
                <c:pt idx="17">
                  <c:v>10.049999999999999</c:v>
                </c:pt>
                <c:pt idx="18">
                  <c:v>9.9499999999999993</c:v>
                </c:pt>
                <c:pt idx="19">
                  <c:v>9.9499999999999993</c:v>
                </c:pt>
                <c:pt idx="20">
                  <c:v>9.5499999999999989</c:v>
                </c:pt>
                <c:pt idx="21">
                  <c:v>9.6499999999999986</c:v>
                </c:pt>
                <c:pt idx="22">
                  <c:v>10.35</c:v>
                </c:pt>
                <c:pt idx="23">
                  <c:v>9.9499999999999993</c:v>
                </c:pt>
                <c:pt idx="24">
                  <c:v>9.6499999999999986</c:v>
                </c:pt>
                <c:pt idx="25">
                  <c:v>9.85</c:v>
                </c:pt>
                <c:pt idx="26">
                  <c:v>9.75</c:v>
                </c:pt>
                <c:pt idx="27">
                  <c:v>9.9499999999999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0D6-4B7E-A015-9C2B05BFD2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48276496"/>
        <c:axId val="1"/>
      </c:lineChart>
      <c:catAx>
        <c:axId val="10482764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"/>
          <c:min val="9"/>
        </c:scaling>
        <c:delete val="0"/>
        <c:axPos val="l"/>
        <c:majorGridlines>
          <c:spPr>
            <a:ln>
              <a:noFill/>
            </a:ln>
          </c:spPr>
        </c:majorGridlines>
        <c:numFmt formatCode="0.0;&quot;-&quot;0.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48276496"/>
        <c:crosses val="min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2076288380900851E-2"/>
          <c:y val="8.0445544554455448E-2"/>
          <c:w val="0.94089003111050995"/>
          <c:h val="0.83910891089108908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-6.25E-2"/>
                </c:manualLayout>
              </c:layout>
              <c:numFmt formatCode="0.00;&quot;-&quot;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7D6-4B2B-A63C-807AEAE9333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AB$1</c:f>
              <c:numCache>
                <c:formatCode>General</c:formatCode>
                <c:ptCount val="28"/>
                <c:pt idx="0">
                  <c:v>10.302</c:v>
                </c:pt>
                <c:pt idx="1">
                  <c:v>10.504000000000001</c:v>
                </c:pt>
                <c:pt idx="2">
                  <c:v>10.201000000000001</c:v>
                </c:pt>
                <c:pt idx="3">
                  <c:v>10.504000000000001</c:v>
                </c:pt>
                <c:pt idx="4">
                  <c:v>10.706</c:v>
                </c:pt>
                <c:pt idx="5">
                  <c:v>10.403</c:v>
                </c:pt>
                <c:pt idx="6">
                  <c:v>10.403</c:v>
                </c:pt>
                <c:pt idx="7">
                  <c:v>10.403</c:v>
                </c:pt>
                <c:pt idx="8">
                  <c:v>10.302</c:v>
                </c:pt>
                <c:pt idx="9">
                  <c:v>10.403</c:v>
                </c:pt>
                <c:pt idx="10">
                  <c:v>10.302</c:v>
                </c:pt>
                <c:pt idx="11">
                  <c:v>10.302</c:v>
                </c:pt>
                <c:pt idx="12">
                  <c:v>10.605</c:v>
                </c:pt>
                <c:pt idx="13">
                  <c:v>10.706</c:v>
                </c:pt>
                <c:pt idx="14">
                  <c:v>10.706</c:v>
                </c:pt>
                <c:pt idx="15">
                  <c:v>11.009</c:v>
                </c:pt>
                <c:pt idx="16">
                  <c:v>10.605</c:v>
                </c:pt>
                <c:pt idx="17">
                  <c:v>10.706</c:v>
                </c:pt>
                <c:pt idx="18">
                  <c:v>10.605</c:v>
                </c:pt>
                <c:pt idx="19">
                  <c:v>10.605</c:v>
                </c:pt>
                <c:pt idx="20">
                  <c:v>10.201000000000001</c:v>
                </c:pt>
                <c:pt idx="21">
                  <c:v>10.302</c:v>
                </c:pt>
                <c:pt idx="22">
                  <c:v>11.009</c:v>
                </c:pt>
                <c:pt idx="23">
                  <c:v>10.605</c:v>
                </c:pt>
                <c:pt idx="24">
                  <c:v>10.302</c:v>
                </c:pt>
                <c:pt idx="25">
                  <c:v>10.504000000000001</c:v>
                </c:pt>
                <c:pt idx="26">
                  <c:v>10.403</c:v>
                </c:pt>
                <c:pt idx="27">
                  <c:v>10.6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7D6-4B2B-A63C-807AEAE93339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AB$2</c:f>
              <c:numCache>
                <c:formatCode>General</c:formatCode>
                <c:ptCount val="28"/>
                <c:pt idx="0">
                  <c:v>9.84</c:v>
                </c:pt>
                <c:pt idx="1">
                  <c:v>9.56</c:v>
                </c:pt>
                <c:pt idx="2">
                  <c:v>10.49</c:v>
                </c:pt>
                <c:pt idx="3">
                  <c:v>10.82</c:v>
                </c:pt>
                <c:pt idx="4">
                  <c:v>10.78</c:v>
                </c:pt>
                <c:pt idx="5">
                  <c:v>9.9</c:v>
                </c:pt>
                <c:pt idx="6">
                  <c:v>10.84</c:v>
                </c:pt>
                <c:pt idx="7">
                  <c:v>10.45</c:v>
                </c:pt>
                <c:pt idx="8">
                  <c:v>10.78</c:v>
                </c:pt>
                <c:pt idx="9">
                  <c:v>9.7100000000000009</c:v>
                </c:pt>
                <c:pt idx="10">
                  <c:v>10.25</c:v>
                </c:pt>
                <c:pt idx="11">
                  <c:v>11.34</c:v>
                </c:pt>
                <c:pt idx="12">
                  <c:v>9.89</c:v>
                </c:pt>
                <c:pt idx="13">
                  <c:v>10.51</c:v>
                </c:pt>
                <c:pt idx="14">
                  <c:v>10.33</c:v>
                </c:pt>
                <c:pt idx="15">
                  <c:v>11.12</c:v>
                </c:pt>
                <c:pt idx="16">
                  <c:v>10.17</c:v>
                </c:pt>
                <c:pt idx="17">
                  <c:v>10.51</c:v>
                </c:pt>
                <c:pt idx="18">
                  <c:v>10.51</c:v>
                </c:pt>
                <c:pt idx="19">
                  <c:v>10.130000000000001</c:v>
                </c:pt>
                <c:pt idx="20">
                  <c:v>10.76</c:v>
                </c:pt>
                <c:pt idx="21">
                  <c:v>10.58</c:v>
                </c:pt>
                <c:pt idx="22">
                  <c:v>11.07</c:v>
                </c:pt>
                <c:pt idx="23">
                  <c:v>10.42</c:v>
                </c:pt>
                <c:pt idx="24">
                  <c:v>10.6</c:v>
                </c:pt>
                <c:pt idx="25">
                  <c:v>10.41</c:v>
                </c:pt>
                <c:pt idx="26">
                  <c:v>10.77</c:v>
                </c:pt>
                <c:pt idx="27">
                  <c:v>10.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7D6-4B2B-A63C-807AEAE93339}"/>
            </c:ext>
          </c:extLst>
        </c:ser>
        <c:ser>
          <c:idx val="2"/>
          <c:order val="2"/>
          <c:spPr>
            <a:ln w="19050" cmpd="sng" algn="ctr">
              <a:solidFill>
                <a:srgbClr val="C0C0C0"/>
              </a:solidFill>
              <a:prstDash val="solid"/>
            </a:ln>
          </c:spPr>
          <c:marker>
            <c:symbol val="none"/>
          </c:marker>
          <c:val>
            <c:numRef>
              <c:f>Sheet1!$A$3:$AB$3</c:f>
              <c:numCache>
                <c:formatCode>General</c:formatCode>
                <c:ptCount val="28"/>
                <c:pt idx="0">
                  <c:v>10.852</c:v>
                </c:pt>
                <c:pt idx="1">
                  <c:v>11.054000000000002</c:v>
                </c:pt>
                <c:pt idx="2">
                  <c:v>10.751000000000001</c:v>
                </c:pt>
                <c:pt idx="3">
                  <c:v>11.054000000000002</c:v>
                </c:pt>
                <c:pt idx="4">
                  <c:v>11.256</c:v>
                </c:pt>
                <c:pt idx="5">
                  <c:v>10.953000000000001</c:v>
                </c:pt>
                <c:pt idx="6">
                  <c:v>10.953000000000001</c:v>
                </c:pt>
                <c:pt idx="7">
                  <c:v>10.953000000000001</c:v>
                </c:pt>
                <c:pt idx="8">
                  <c:v>10.852</c:v>
                </c:pt>
                <c:pt idx="9">
                  <c:v>10.953000000000001</c:v>
                </c:pt>
                <c:pt idx="10">
                  <c:v>10.852</c:v>
                </c:pt>
                <c:pt idx="11">
                  <c:v>10.852</c:v>
                </c:pt>
                <c:pt idx="12">
                  <c:v>11.155000000000001</c:v>
                </c:pt>
                <c:pt idx="13">
                  <c:v>11.256</c:v>
                </c:pt>
                <c:pt idx="14">
                  <c:v>11.256</c:v>
                </c:pt>
                <c:pt idx="15">
                  <c:v>11.559000000000001</c:v>
                </c:pt>
                <c:pt idx="16">
                  <c:v>11.155000000000001</c:v>
                </c:pt>
                <c:pt idx="17">
                  <c:v>11.256</c:v>
                </c:pt>
                <c:pt idx="18">
                  <c:v>11.155000000000001</c:v>
                </c:pt>
                <c:pt idx="19">
                  <c:v>11.155000000000001</c:v>
                </c:pt>
                <c:pt idx="20">
                  <c:v>10.751000000000001</c:v>
                </c:pt>
                <c:pt idx="21">
                  <c:v>10.852</c:v>
                </c:pt>
                <c:pt idx="22">
                  <c:v>11.559000000000001</c:v>
                </c:pt>
                <c:pt idx="23">
                  <c:v>11.155000000000001</c:v>
                </c:pt>
                <c:pt idx="24">
                  <c:v>10.852</c:v>
                </c:pt>
                <c:pt idx="25">
                  <c:v>11.054000000000002</c:v>
                </c:pt>
                <c:pt idx="26">
                  <c:v>10.953000000000001</c:v>
                </c:pt>
                <c:pt idx="27">
                  <c:v>11.155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7D6-4B2B-A63C-807AEAE93339}"/>
            </c:ext>
          </c:extLst>
        </c:ser>
        <c:ser>
          <c:idx val="3"/>
          <c:order val="3"/>
          <c:spPr>
            <a:ln w="19050" cmpd="sng" algn="ctr">
              <a:solidFill>
                <a:srgbClr val="C0C0C0"/>
              </a:solidFill>
              <a:prstDash val="solid"/>
            </a:ln>
          </c:spPr>
          <c:marker>
            <c:symbol val="none"/>
          </c:marker>
          <c:val>
            <c:numRef>
              <c:f>Sheet1!$A$4:$AB$4</c:f>
              <c:numCache>
                <c:formatCode>General</c:formatCode>
                <c:ptCount val="28"/>
                <c:pt idx="0">
                  <c:v>9.7519999999999989</c:v>
                </c:pt>
                <c:pt idx="1">
                  <c:v>9.9540000000000006</c:v>
                </c:pt>
                <c:pt idx="2">
                  <c:v>9.6509999999999998</c:v>
                </c:pt>
                <c:pt idx="3">
                  <c:v>9.9540000000000006</c:v>
                </c:pt>
                <c:pt idx="4">
                  <c:v>10.155999999999999</c:v>
                </c:pt>
                <c:pt idx="5">
                  <c:v>9.8529999999999998</c:v>
                </c:pt>
                <c:pt idx="6">
                  <c:v>9.8529999999999998</c:v>
                </c:pt>
                <c:pt idx="7">
                  <c:v>9.8529999999999998</c:v>
                </c:pt>
                <c:pt idx="8">
                  <c:v>9.7519999999999989</c:v>
                </c:pt>
                <c:pt idx="9">
                  <c:v>9.8529999999999998</c:v>
                </c:pt>
                <c:pt idx="10">
                  <c:v>9.7519999999999989</c:v>
                </c:pt>
                <c:pt idx="11">
                  <c:v>9.7519999999999989</c:v>
                </c:pt>
                <c:pt idx="12">
                  <c:v>10.055</c:v>
                </c:pt>
                <c:pt idx="13">
                  <c:v>10.155999999999999</c:v>
                </c:pt>
                <c:pt idx="14">
                  <c:v>10.155999999999999</c:v>
                </c:pt>
                <c:pt idx="15">
                  <c:v>10.459</c:v>
                </c:pt>
                <c:pt idx="16">
                  <c:v>10.055</c:v>
                </c:pt>
                <c:pt idx="17">
                  <c:v>10.155999999999999</c:v>
                </c:pt>
                <c:pt idx="18">
                  <c:v>10.055</c:v>
                </c:pt>
                <c:pt idx="19">
                  <c:v>10.055</c:v>
                </c:pt>
                <c:pt idx="20">
                  <c:v>9.6509999999999998</c:v>
                </c:pt>
                <c:pt idx="21">
                  <c:v>9.7519999999999989</c:v>
                </c:pt>
                <c:pt idx="22">
                  <c:v>10.459</c:v>
                </c:pt>
                <c:pt idx="23">
                  <c:v>10.055</c:v>
                </c:pt>
                <c:pt idx="24">
                  <c:v>9.7519999999999989</c:v>
                </c:pt>
                <c:pt idx="25">
                  <c:v>9.9540000000000006</c:v>
                </c:pt>
                <c:pt idx="26">
                  <c:v>9.8529999999999998</c:v>
                </c:pt>
                <c:pt idx="27">
                  <c:v>10.0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7D6-4B2B-A63C-807AEAE933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49235288"/>
        <c:axId val="1"/>
      </c:lineChart>
      <c:catAx>
        <c:axId val="9492352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"/>
          <c:min val="9"/>
        </c:scaling>
        <c:delete val="0"/>
        <c:axPos val="l"/>
        <c:majorGridlines>
          <c:spPr>
            <a:ln>
              <a:noFill/>
            </a:ln>
          </c:spPr>
        </c:majorGridlines>
        <c:numFmt formatCode="0.0;&quot;-&quot;0.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49235288"/>
        <c:crosses val="min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2076288380900851E-2"/>
          <c:y val="8.0246913580246909E-2"/>
          <c:w val="0.94089003111050995"/>
          <c:h val="0.83950617283950613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BE$1</c:f>
              <c:numCache>
                <c:formatCode>General</c:formatCode>
                <c:ptCount val="57"/>
                <c:pt idx="0">
                  <c:v>10.199999999999999</c:v>
                </c:pt>
                <c:pt idx="1">
                  <c:v>10.1</c:v>
                </c:pt>
                <c:pt idx="2">
                  <c:v>9.6999999999999993</c:v>
                </c:pt>
                <c:pt idx="3">
                  <c:v>9.6999999999999993</c:v>
                </c:pt>
                <c:pt idx="4">
                  <c:v>10.5</c:v>
                </c:pt>
                <c:pt idx="5">
                  <c:v>9.6999999999999993</c:v>
                </c:pt>
                <c:pt idx="6">
                  <c:v>9.6999999999999993</c:v>
                </c:pt>
                <c:pt idx="7">
                  <c:v>10.199999999999999</c:v>
                </c:pt>
                <c:pt idx="8">
                  <c:v>10.9</c:v>
                </c:pt>
                <c:pt idx="9">
                  <c:v>10.5</c:v>
                </c:pt>
                <c:pt idx="10">
                  <c:v>10.5</c:v>
                </c:pt>
                <c:pt idx="11">
                  <c:v>10.9</c:v>
                </c:pt>
                <c:pt idx="12">
                  <c:v>10.5</c:v>
                </c:pt>
                <c:pt idx="13">
                  <c:v>9.6999999999999993</c:v>
                </c:pt>
                <c:pt idx="14">
                  <c:v>10.1</c:v>
                </c:pt>
                <c:pt idx="15">
                  <c:v>10.3</c:v>
                </c:pt>
                <c:pt idx="16">
                  <c:v>10.9</c:v>
                </c:pt>
                <c:pt idx="17">
                  <c:v>10.6</c:v>
                </c:pt>
                <c:pt idx="18">
                  <c:v>10.6</c:v>
                </c:pt>
                <c:pt idx="19">
                  <c:v>10.199999999999999</c:v>
                </c:pt>
                <c:pt idx="20">
                  <c:v>10.3</c:v>
                </c:pt>
                <c:pt idx="21">
                  <c:v>10.1</c:v>
                </c:pt>
                <c:pt idx="22">
                  <c:v>10.5</c:v>
                </c:pt>
                <c:pt idx="23">
                  <c:v>10.6</c:v>
                </c:pt>
                <c:pt idx="24">
                  <c:v>10.1</c:v>
                </c:pt>
                <c:pt idx="25">
                  <c:v>10.5</c:v>
                </c:pt>
                <c:pt idx="26">
                  <c:v>10.6</c:v>
                </c:pt>
                <c:pt idx="27">
                  <c:v>10.199999999999999</c:v>
                </c:pt>
                <c:pt idx="28">
                  <c:v>10.3</c:v>
                </c:pt>
                <c:pt idx="29">
                  <c:v>10.199999999999999</c:v>
                </c:pt>
                <c:pt idx="30">
                  <c:v>10.5</c:v>
                </c:pt>
                <c:pt idx="31">
                  <c:v>10.5</c:v>
                </c:pt>
                <c:pt idx="32">
                  <c:v>10.3</c:v>
                </c:pt>
                <c:pt idx="33">
                  <c:v>10.3</c:v>
                </c:pt>
                <c:pt idx="34">
                  <c:v>10.3</c:v>
                </c:pt>
                <c:pt idx="35">
                  <c:v>10.6</c:v>
                </c:pt>
                <c:pt idx="36">
                  <c:v>10.5</c:v>
                </c:pt>
                <c:pt idx="37">
                  <c:v>10.3</c:v>
                </c:pt>
                <c:pt idx="38">
                  <c:v>10.199999999999999</c:v>
                </c:pt>
                <c:pt idx="39">
                  <c:v>10.1</c:v>
                </c:pt>
                <c:pt idx="40">
                  <c:v>10.1</c:v>
                </c:pt>
                <c:pt idx="41">
                  <c:v>10.5</c:v>
                </c:pt>
                <c:pt idx="42">
                  <c:v>10.3</c:v>
                </c:pt>
                <c:pt idx="43">
                  <c:v>10.1</c:v>
                </c:pt>
                <c:pt idx="44">
                  <c:v>10.9</c:v>
                </c:pt>
                <c:pt idx="45">
                  <c:v>10.199999999999999</c:v>
                </c:pt>
                <c:pt idx="46">
                  <c:v>9.6999999999999993</c:v>
                </c:pt>
                <c:pt idx="47">
                  <c:v>10.199999999999999</c:v>
                </c:pt>
                <c:pt idx="48">
                  <c:v>10.3</c:v>
                </c:pt>
                <c:pt idx="49">
                  <c:v>10.3</c:v>
                </c:pt>
                <c:pt idx="50">
                  <c:v>10.3</c:v>
                </c:pt>
                <c:pt idx="51">
                  <c:v>10.5</c:v>
                </c:pt>
                <c:pt idx="52">
                  <c:v>10.5</c:v>
                </c:pt>
                <c:pt idx="53">
                  <c:v>10.5</c:v>
                </c:pt>
                <c:pt idx="54">
                  <c:v>10.3</c:v>
                </c:pt>
                <c:pt idx="55">
                  <c:v>10.1</c:v>
                </c:pt>
                <c:pt idx="56">
                  <c:v>10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60F-4F8A-8100-E899AED80A96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BE$2</c:f>
              <c:numCache>
                <c:formatCode>General</c:formatCode>
                <c:ptCount val="57"/>
                <c:pt idx="0">
                  <c:v>9.6999999999999993</c:v>
                </c:pt>
                <c:pt idx="1">
                  <c:v>10.31</c:v>
                </c:pt>
                <c:pt idx="2">
                  <c:v>11.09</c:v>
                </c:pt>
                <c:pt idx="3">
                  <c:v>10.77</c:v>
                </c:pt>
                <c:pt idx="4">
                  <c:v>11.01</c:v>
                </c:pt>
                <c:pt idx="5">
                  <c:v>10.06</c:v>
                </c:pt>
                <c:pt idx="6">
                  <c:v>11.58</c:v>
                </c:pt>
                <c:pt idx="7">
                  <c:v>11.63</c:v>
                </c:pt>
                <c:pt idx="8">
                  <c:v>11.29</c:v>
                </c:pt>
                <c:pt idx="9">
                  <c:v>11.11</c:v>
                </c:pt>
                <c:pt idx="10">
                  <c:v>10.63</c:v>
                </c:pt>
                <c:pt idx="11">
                  <c:v>10.92</c:v>
                </c:pt>
                <c:pt idx="12">
                  <c:v>10.37</c:v>
                </c:pt>
                <c:pt idx="13">
                  <c:v>10.72</c:v>
                </c:pt>
                <c:pt idx="14">
                  <c:v>10.66</c:v>
                </c:pt>
                <c:pt idx="15">
                  <c:v>10.67</c:v>
                </c:pt>
                <c:pt idx="16">
                  <c:v>11.08</c:v>
                </c:pt>
                <c:pt idx="17">
                  <c:v>11.04</c:v>
                </c:pt>
                <c:pt idx="18">
                  <c:v>11.57</c:v>
                </c:pt>
                <c:pt idx="19">
                  <c:v>10.97</c:v>
                </c:pt>
                <c:pt idx="20">
                  <c:v>10.8</c:v>
                </c:pt>
                <c:pt idx="21">
                  <c:v>10.53</c:v>
                </c:pt>
                <c:pt idx="22">
                  <c:v>10.81</c:v>
                </c:pt>
                <c:pt idx="23">
                  <c:v>11</c:v>
                </c:pt>
                <c:pt idx="24">
                  <c:v>10.97</c:v>
                </c:pt>
                <c:pt idx="25">
                  <c:v>10.79</c:v>
                </c:pt>
                <c:pt idx="26">
                  <c:v>11.14</c:v>
                </c:pt>
                <c:pt idx="27">
                  <c:v>10.87</c:v>
                </c:pt>
                <c:pt idx="28">
                  <c:v>11.04</c:v>
                </c:pt>
                <c:pt idx="29">
                  <c:v>9.23</c:v>
                </c:pt>
                <c:pt idx="30">
                  <c:v>10.84</c:v>
                </c:pt>
                <c:pt idx="31">
                  <c:v>12.3</c:v>
                </c:pt>
                <c:pt idx="32">
                  <c:v>10.77</c:v>
                </c:pt>
                <c:pt idx="33">
                  <c:v>11.48</c:v>
                </c:pt>
                <c:pt idx="34">
                  <c:v>11.43</c:v>
                </c:pt>
                <c:pt idx="35">
                  <c:v>11.73</c:v>
                </c:pt>
                <c:pt idx="36">
                  <c:v>10.87</c:v>
                </c:pt>
                <c:pt idx="37">
                  <c:v>10.89</c:v>
                </c:pt>
                <c:pt idx="38">
                  <c:v>10.69</c:v>
                </c:pt>
                <c:pt idx="39">
                  <c:v>10.87</c:v>
                </c:pt>
                <c:pt idx="40">
                  <c:v>11.25</c:v>
                </c:pt>
                <c:pt idx="41">
                  <c:v>10.56</c:v>
                </c:pt>
                <c:pt idx="42">
                  <c:v>11.22</c:v>
                </c:pt>
                <c:pt idx="43">
                  <c:v>10.96</c:v>
                </c:pt>
                <c:pt idx="44">
                  <c:v>10.87</c:v>
                </c:pt>
                <c:pt idx="45">
                  <c:v>10.6</c:v>
                </c:pt>
                <c:pt idx="46">
                  <c:v>10.57</c:v>
                </c:pt>
                <c:pt idx="47">
                  <c:v>10.63</c:v>
                </c:pt>
                <c:pt idx="48">
                  <c:v>10.77</c:v>
                </c:pt>
                <c:pt idx="49">
                  <c:v>11.8</c:v>
                </c:pt>
                <c:pt idx="50">
                  <c:v>11.06</c:v>
                </c:pt>
                <c:pt idx="51">
                  <c:v>11.11</c:v>
                </c:pt>
                <c:pt idx="52">
                  <c:v>11.02</c:v>
                </c:pt>
                <c:pt idx="53">
                  <c:v>10.38</c:v>
                </c:pt>
                <c:pt idx="54">
                  <c:v>10.89</c:v>
                </c:pt>
                <c:pt idx="55">
                  <c:v>10.8</c:v>
                </c:pt>
                <c:pt idx="56">
                  <c:v>10.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60F-4F8A-8100-E899AED80A96}"/>
            </c:ext>
          </c:extLst>
        </c:ser>
        <c:ser>
          <c:idx val="2"/>
          <c:order val="2"/>
          <c:spPr>
            <a:ln w="19050" cmpd="sng" algn="ctr">
              <a:solidFill>
                <a:srgbClr val="D6D7D9"/>
              </a:solidFill>
              <a:prstDash val="solid"/>
            </a:ln>
          </c:spPr>
          <c:marker>
            <c:symbol val="none"/>
          </c:marker>
          <c:val>
            <c:numRef>
              <c:f>Sheet1!$A$3:$BE$3</c:f>
              <c:numCache>
                <c:formatCode>General</c:formatCode>
                <c:ptCount val="57"/>
                <c:pt idx="0">
                  <c:v>10.75</c:v>
                </c:pt>
                <c:pt idx="1">
                  <c:v>10.65</c:v>
                </c:pt>
                <c:pt idx="2">
                  <c:v>10.25</c:v>
                </c:pt>
                <c:pt idx="3">
                  <c:v>10.25</c:v>
                </c:pt>
                <c:pt idx="4">
                  <c:v>11.05</c:v>
                </c:pt>
                <c:pt idx="5">
                  <c:v>10.25</c:v>
                </c:pt>
                <c:pt idx="6">
                  <c:v>10.25</c:v>
                </c:pt>
                <c:pt idx="7">
                  <c:v>10.75</c:v>
                </c:pt>
                <c:pt idx="8">
                  <c:v>11.450000000000001</c:v>
                </c:pt>
                <c:pt idx="9">
                  <c:v>11.05</c:v>
                </c:pt>
                <c:pt idx="10">
                  <c:v>11.05</c:v>
                </c:pt>
                <c:pt idx="11">
                  <c:v>11.450000000000001</c:v>
                </c:pt>
                <c:pt idx="12">
                  <c:v>11.05</c:v>
                </c:pt>
                <c:pt idx="13">
                  <c:v>10.25</c:v>
                </c:pt>
                <c:pt idx="14">
                  <c:v>10.65</c:v>
                </c:pt>
                <c:pt idx="15">
                  <c:v>10.850000000000001</c:v>
                </c:pt>
                <c:pt idx="16">
                  <c:v>11.450000000000001</c:v>
                </c:pt>
                <c:pt idx="17">
                  <c:v>11.15</c:v>
                </c:pt>
                <c:pt idx="18">
                  <c:v>11.15</c:v>
                </c:pt>
                <c:pt idx="19">
                  <c:v>10.75</c:v>
                </c:pt>
                <c:pt idx="20">
                  <c:v>10.850000000000001</c:v>
                </c:pt>
                <c:pt idx="21">
                  <c:v>10.65</c:v>
                </c:pt>
                <c:pt idx="22">
                  <c:v>11.05</c:v>
                </c:pt>
                <c:pt idx="23">
                  <c:v>11.15</c:v>
                </c:pt>
                <c:pt idx="24">
                  <c:v>10.65</c:v>
                </c:pt>
                <c:pt idx="25">
                  <c:v>11.05</c:v>
                </c:pt>
                <c:pt idx="26">
                  <c:v>11.15</c:v>
                </c:pt>
                <c:pt idx="27">
                  <c:v>10.75</c:v>
                </c:pt>
                <c:pt idx="28">
                  <c:v>10.850000000000001</c:v>
                </c:pt>
                <c:pt idx="29">
                  <c:v>10.75</c:v>
                </c:pt>
                <c:pt idx="30">
                  <c:v>11.05</c:v>
                </c:pt>
                <c:pt idx="31">
                  <c:v>11.05</c:v>
                </c:pt>
                <c:pt idx="32">
                  <c:v>10.850000000000001</c:v>
                </c:pt>
                <c:pt idx="33">
                  <c:v>10.850000000000001</c:v>
                </c:pt>
                <c:pt idx="34">
                  <c:v>10.850000000000001</c:v>
                </c:pt>
                <c:pt idx="35">
                  <c:v>11.15</c:v>
                </c:pt>
                <c:pt idx="36">
                  <c:v>11.05</c:v>
                </c:pt>
                <c:pt idx="37">
                  <c:v>10.850000000000001</c:v>
                </c:pt>
                <c:pt idx="38">
                  <c:v>10.75</c:v>
                </c:pt>
                <c:pt idx="39">
                  <c:v>10.65</c:v>
                </c:pt>
                <c:pt idx="40">
                  <c:v>10.65</c:v>
                </c:pt>
                <c:pt idx="41">
                  <c:v>11.05</c:v>
                </c:pt>
                <c:pt idx="42">
                  <c:v>10.850000000000001</c:v>
                </c:pt>
                <c:pt idx="43">
                  <c:v>10.65</c:v>
                </c:pt>
                <c:pt idx="44">
                  <c:v>11.450000000000001</c:v>
                </c:pt>
                <c:pt idx="45">
                  <c:v>10.75</c:v>
                </c:pt>
                <c:pt idx="46">
                  <c:v>10.25</c:v>
                </c:pt>
                <c:pt idx="47">
                  <c:v>10.75</c:v>
                </c:pt>
                <c:pt idx="48">
                  <c:v>10.850000000000001</c:v>
                </c:pt>
                <c:pt idx="49">
                  <c:v>10.850000000000001</c:v>
                </c:pt>
                <c:pt idx="50">
                  <c:v>10.850000000000001</c:v>
                </c:pt>
                <c:pt idx="51">
                  <c:v>11.05</c:v>
                </c:pt>
                <c:pt idx="52">
                  <c:v>11.05</c:v>
                </c:pt>
                <c:pt idx="53">
                  <c:v>11.05</c:v>
                </c:pt>
                <c:pt idx="54">
                  <c:v>10.850000000000001</c:v>
                </c:pt>
                <c:pt idx="55">
                  <c:v>10.65</c:v>
                </c:pt>
                <c:pt idx="56">
                  <c:v>10.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60F-4F8A-8100-E899AED80A96}"/>
            </c:ext>
          </c:extLst>
        </c:ser>
        <c:ser>
          <c:idx val="3"/>
          <c:order val="3"/>
          <c:spPr>
            <a:ln w="19050" cmpd="sng" algn="ctr">
              <a:solidFill>
                <a:srgbClr val="969696"/>
              </a:solidFill>
              <a:prstDash val="solid"/>
            </a:ln>
          </c:spPr>
          <c:marker>
            <c:symbol val="none"/>
          </c:marker>
          <c:val>
            <c:numRef>
              <c:f>Sheet1!$A$4:$BE$4</c:f>
              <c:numCache>
                <c:formatCode>General</c:formatCode>
                <c:ptCount val="57"/>
                <c:pt idx="0">
                  <c:v>9.6499999999999986</c:v>
                </c:pt>
                <c:pt idx="1">
                  <c:v>9.5499999999999989</c:v>
                </c:pt>
                <c:pt idx="2">
                  <c:v>9.1499999999999986</c:v>
                </c:pt>
                <c:pt idx="3">
                  <c:v>9.1499999999999986</c:v>
                </c:pt>
                <c:pt idx="4">
                  <c:v>9.9499999999999993</c:v>
                </c:pt>
                <c:pt idx="5">
                  <c:v>9.1499999999999986</c:v>
                </c:pt>
                <c:pt idx="6">
                  <c:v>9.1499999999999986</c:v>
                </c:pt>
                <c:pt idx="7">
                  <c:v>9.6499999999999986</c:v>
                </c:pt>
                <c:pt idx="8">
                  <c:v>10.35</c:v>
                </c:pt>
                <c:pt idx="9">
                  <c:v>9.9499999999999993</c:v>
                </c:pt>
                <c:pt idx="10">
                  <c:v>9.9499999999999993</c:v>
                </c:pt>
                <c:pt idx="11">
                  <c:v>10.35</c:v>
                </c:pt>
                <c:pt idx="12">
                  <c:v>9.9499999999999993</c:v>
                </c:pt>
                <c:pt idx="13">
                  <c:v>9.1499999999999986</c:v>
                </c:pt>
                <c:pt idx="14">
                  <c:v>9.5499999999999989</c:v>
                </c:pt>
                <c:pt idx="15">
                  <c:v>9.75</c:v>
                </c:pt>
                <c:pt idx="16">
                  <c:v>10.35</c:v>
                </c:pt>
                <c:pt idx="17">
                  <c:v>10.049999999999999</c:v>
                </c:pt>
                <c:pt idx="18">
                  <c:v>10.049999999999999</c:v>
                </c:pt>
                <c:pt idx="19">
                  <c:v>9.6499999999999986</c:v>
                </c:pt>
                <c:pt idx="20">
                  <c:v>9.75</c:v>
                </c:pt>
                <c:pt idx="21">
                  <c:v>9.5499999999999989</c:v>
                </c:pt>
                <c:pt idx="22">
                  <c:v>9.9499999999999993</c:v>
                </c:pt>
                <c:pt idx="23">
                  <c:v>10.049999999999999</c:v>
                </c:pt>
                <c:pt idx="24">
                  <c:v>9.5499999999999989</c:v>
                </c:pt>
                <c:pt idx="25">
                  <c:v>9.9499999999999993</c:v>
                </c:pt>
                <c:pt idx="26">
                  <c:v>10.049999999999999</c:v>
                </c:pt>
                <c:pt idx="27">
                  <c:v>9.6499999999999986</c:v>
                </c:pt>
                <c:pt idx="28">
                  <c:v>9.75</c:v>
                </c:pt>
                <c:pt idx="29">
                  <c:v>9.6499999999999986</c:v>
                </c:pt>
                <c:pt idx="30">
                  <c:v>9.9499999999999993</c:v>
                </c:pt>
                <c:pt idx="31">
                  <c:v>9.9499999999999993</c:v>
                </c:pt>
                <c:pt idx="32">
                  <c:v>9.75</c:v>
                </c:pt>
                <c:pt idx="33">
                  <c:v>9.75</c:v>
                </c:pt>
                <c:pt idx="34">
                  <c:v>9.75</c:v>
                </c:pt>
                <c:pt idx="35">
                  <c:v>10.049999999999999</c:v>
                </c:pt>
                <c:pt idx="36">
                  <c:v>9.9499999999999993</c:v>
                </c:pt>
                <c:pt idx="37">
                  <c:v>9.75</c:v>
                </c:pt>
                <c:pt idx="38">
                  <c:v>9.6499999999999986</c:v>
                </c:pt>
                <c:pt idx="39">
                  <c:v>9.5499999999999989</c:v>
                </c:pt>
                <c:pt idx="40">
                  <c:v>9.5499999999999989</c:v>
                </c:pt>
                <c:pt idx="41">
                  <c:v>9.9499999999999993</c:v>
                </c:pt>
                <c:pt idx="42">
                  <c:v>9.75</c:v>
                </c:pt>
                <c:pt idx="43">
                  <c:v>9.5499999999999989</c:v>
                </c:pt>
                <c:pt idx="44">
                  <c:v>10.35</c:v>
                </c:pt>
                <c:pt idx="45">
                  <c:v>9.6499999999999986</c:v>
                </c:pt>
                <c:pt idx="46">
                  <c:v>9.1499999999999986</c:v>
                </c:pt>
                <c:pt idx="47">
                  <c:v>9.6499999999999986</c:v>
                </c:pt>
                <c:pt idx="48">
                  <c:v>9.75</c:v>
                </c:pt>
                <c:pt idx="49">
                  <c:v>9.75</c:v>
                </c:pt>
                <c:pt idx="50">
                  <c:v>9.75</c:v>
                </c:pt>
                <c:pt idx="51">
                  <c:v>9.9499999999999993</c:v>
                </c:pt>
                <c:pt idx="52">
                  <c:v>9.9499999999999993</c:v>
                </c:pt>
                <c:pt idx="53">
                  <c:v>9.9499999999999993</c:v>
                </c:pt>
                <c:pt idx="54">
                  <c:v>9.75</c:v>
                </c:pt>
                <c:pt idx="55">
                  <c:v>9.5499999999999989</c:v>
                </c:pt>
                <c:pt idx="56">
                  <c:v>9.54999999999999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60F-4F8A-8100-E899AED80A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65863184"/>
        <c:axId val="1"/>
      </c:lineChart>
      <c:catAx>
        <c:axId val="13658631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.5"/>
          <c:min val="9"/>
        </c:scaling>
        <c:delete val="0"/>
        <c:axPos val="l"/>
        <c:majorGridlines>
          <c:spPr>
            <a:ln>
              <a:noFill/>
            </a:ln>
          </c:spPr>
        </c:majorGridlines>
        <c:numFmt formatCode="0.0;&quot;-&quot;0.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5863184"/>
        <c:crosses val="min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2076288380900851E-2"/>
          <c:y val="8.6436170212765964E-2"/>
          <c:w val="0.94089003111050995"/>
          <c:h val="0.8271276595744681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BE$1</c:f>
              <c:numCache>
                <c:formatCode>General</c:formatCode>
                <c:ptCount val="57"/>
                <c:pt idx="0">
                  <c:v>10.302</c:v>
                </c:pt>
                <c:pt idx="1">
                  <c:v>10.201000000000001</c:v>
                </c:pt>
                <c:pt idx="2">
                  <c:v>9.7969999999999988</c:v>
                </c:pt>
                <c:pt idx="3">
                  <c:v>9.7969999999999988</c:v>
                </c:pt>
                <c:pt idx="4">
                  <c:v>10.605</c:v>
                </c:pt>
                <c:pt idx="5">
                  <c:v>9.7969999999999988</c:v>
                </c:pt>
                <c:pt idx="6">
                  <c:v>9.7969999999999988</c:v>
                </c:pt>
                <c:pt idx="7">
                  <c:v>10.302</c:v>
                </c:pt>
                <c:pt idx="8">
                  <c:v>11.009</c:v>
                </c:pt>
                <c:pt idx="9">
                  <c:v>10.605</c:v>
                </c:pt>
                <c:pt idx="10">
                  <c:v>10.605</c:v>
                </c:pt>
                <c:pt idx="11">
                  <c:v>11.009</c:v>
                </c:pt>
                <c:pt idx="12">
                  <c:v>10.605</c:v>
                </c:pt>
                <c:pt idx="13">
                  <c:v>9.7969999999999988</c:v>
                </c:pt>
                <c:pt idx="14">
                  <c:v>10.201000000000001</c:v>
                </c:pt>
                <c:pt idx="15">
                  <c:v>10.403</c:v>
                </c:pt>
                <c:pt idx="16">
                  <c:v>11.009</c:v>
                </c:pt>
                <c:pt idx="17">
                  <c:v>10.706</c:v>
                </c:pt>
                <c:pt idx="18">
                  <c:v>10.706</c:v>
                </c:pt>
                <c:pt idx="19">
                  <c:v>10.302</c:v>
                </c:pt>
                <c:pt idx="20">
                  <c:v>10.403</c:v>
                </c:pt>
                <c:pt idx="21">
                  <c:v>10.201000000000001</c:v>
                </c:pt>
                <c:pt idx="22">
                  <c:v>10.605</c:v>
                </c:pt>
                <c:pt idx="23">
                  <c:v>10.706</c:v>
                </c:pt>
                <c:pt idx="24">
                  <c:v>10.201000000000001</c:v>
                </c:pt>
                <c:pt idx="25">
                  <c:v>10.605</c:v>
                </c:pt>
                <c:pt idx="26">
                  <c:v>10.706</c:v>
                </c:pt>
                <c:pt idx="27">
                  <c:v>10.302</c:v>
                </c:pt>
                <c:pt idx="28">
                  <c:v>10.403</c:v>
                </c:pt>
                <c:pt idx="29">
                  <c:v>10.302</c:v>
                </c:pt>
                <c:pt idx="30">
                  <c:v>10.605</c:v>
                </c:pt>
                <c:pt idx="31">
                  <c:v>10.605</c:v>
                </c:pt>
                <c:pt idx="32">
                  <c:v>10.403</c:v>
                </c:pt>
                <c:pt idx="33">
                  <c:v>10.403</c:v>
                </c:pt>
                <c:pt idx="34">
                  <c:v>10.403</c:v>
                </c:pt>
                <c:pt idx="35">
                  <c:v>10.706</c:v>
                </c:pt>
                <c:pt idx="36">
                  <c:v>10.605</c:v>
                </c:pt>
                <c:pt idx="37">
                  <c:v>10.403</c:v>
                </c:pt>
                <c:pt idx="38">
                  <c:v>10.302</c:v>
                </c:pt>
                <c:pt idx="39">
                  <c:v>10.201000000000001</c:v>
                </c:pt>
                <c:pt idx="40">
                  <c:v>10.201000000000001</c:v>
                </c:pt>
                <c:pt idx="41">
                  <c:v>10.605</c:v>
                </c:pt>
                <c:pt idx="42">
                  <c:v>10.403</c:v>
                </c:pt>
                <c:pt idx="43">
                  <c:v>10.201000000000001</c:v>
                </c:pt>
                <c:pt idx="44">
                  <c:v>11.009</c:v>
                </c:pt>
                <c:pt idx="45">
                  <c:v>10.302</c:v>
                </c:pt>
                <c:pt idx="46">
                  <c:v>9.7969999999999988</c:v>
                </c:pt>
                <c:pt idx="47">
                  <c:v>10.302</c:v>
                </c:pt>
                <c:pt idx="48">
                  <c:v>10.403</c:v>
                </c:pt>
                <c:pt idx="49">
                  <c:v>10.403</c:v>
                </c:pt>
                <c:pt idx="50">
                  <c:v>10.403</c:v>
                </c:pt>
                <c:pt idx="51">
                  <c:v>10.605</c:v>
                </c:pt>
                <c:pt idx="52">
                  <c:v>10.605</c:v>
                </c:pt>
                <c:pt idx="53">
                  <c:v>10.605</c:v>
                </c:pt>
                <c:pt idx="54">
                  <c:v>10.403</c:v>
                </c:pt>
                <c:pt idx="55">
                  <c:v>10.201000000000001</c:v>
                </c:pt>
                <c:pt idx="56">
                  <c:v>10.201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EAA-4F2F-BF94-FF0B25EF631F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BE$2</c:f>
              <c:numCache>
                <c:formatCode>General</c:formatCode>
                <c:ptCount val="57"/>
                <c:pt idx="0">
                  <c:v>9.6999999999999993</c:v>
                </c:pt>
                <c:pt idx="1">
                  <c:v>10.31</c:v>
                </c:pt>
                <c:pt idx="2">
                  <c:v>11.09</c:v>
                </c:pt>
                <c:pt idx="3">
                  <c:v>10.77</c:v>
                </c:pt>
                <c:pt idx="4">
                  <c:v>11.01</c:v>
                </c:pt>
                <c:pt idx="5">
                  <c:v>10.06</c:v>
                </c:pt>
                <c:pt idx="6">
                  <c:v>11.58</c:v>
                </c:pt>
                <c:pt idx="7">
                  <c:v>11.63</c:v>
                </c:pt>
                <c:pt idx="8">
                  <c:v>11.29</c:v>
                </c:pt>
                <c:pt idx="9">
                  <c:v>11.11</c:v>
                </c:pt>
                <c:pt idx="10">
                  <c:v>10.63</c:v>
                </c:pt>
                <c:pt idx="11">
                  <c:v>10.92</c:v>
                </c:pt>
                <c:pt idx="12">
                  <c:v>10.37</c:v>
                </c:pt>
                <c:pt idx="13">
                  <c:v>10.72</c:v>
                </c:pt>
                <c:pt idx="14">
                  <c:v>10.66</c:v>
                </c:pt>
                <c:pt idx="15">
                  <c:v>10.67</c:v>
                </c:pt>
                <c:pt idx="16">
                  <c:v>11.08</c:v>
                </c:pt>
                <c:pt idx="17">
                  <c:v>11.04</c:v>
                </c:pt>
                <c:pt idx="18">
                  <c:v>11.57</c:v>
                </c:pt>
                <c:pt idx="19">
                  <c:v>10.97</c:v>
                </c:pt>
                <c:pt idx="20">
                  <c:v>10.8</c:v>
                </c:pt>
                <c:pt idx="21">
                  <c:v>10.53</c:v>
                </c:pt>
                <c:pt idx="22">
                  <c:v>10.81</c:v>
                </c:pt>
                <c:pt idx="23">
                  <c:v>11</c:v>
                </c:pt>
                <c:pt idx="24">
                  <c:v>10.97</c:v>
                </c:pt>
                <c:pt idx="25">
                  <c:v>10.79</c:v>
                </c:pt>
                <c:pt idx="26">
                  <c:v>11.14</c:v>
                </c:pt>
                <c:pt idx="27">
                  <c:v>10.87</c:v>
                </c:pt>
                <c:pt idx="28">
                  <c:v>11.04</c:v>
                </c:pt>
                <c:pt idx="29">
                  <c:v>9.23</c:v>
                </c:pt>
                <c:pt idx="30">
                  <c:v>10.84</c:v>
                </c:pt>
                <c:pt idx="31">
                  <c:v>12.3</c:v>
                </c:pt>
                <c:pt idx="32">
                  <c:v>10.77</c:v>
                </c:pt>
                <c:pt idx="33">
                  <c:v>11.48</c:v>
                </c:pt>
                <c:pt idx="34">
                  <c:v>11.43</c:v>
                </c:pt>
                <c:pt idx="35">
                  <c:v>11.73</c:v>
                </c:pt>
                <c:pt idx="36">
                  <c:v>10.87</c:v>
                </c:pt>
                <c:pt idx="37">
                  <c:v>10.89</c:v>
                </c:pt>
                <c:pt idx="38">
                  <c:v>10.69</c:v>
                </c:pt>
                <c:pt idx="39">
                  <c:v>10.87</c:v>
                </c:pt>
                <c:pt idx="40">
                  <c:v>11.25</c:v>
                </c:pt>
                <c:pt idx="41">
                  <c:v>10.56</c:v>
                </c:pt>
                <c:pt idx="42">
                  <c:v>11.22</c:v>
                </c:pt>
                <c:pt idx="43">
                  <c:v>10.96</c:v>
                </c:pt>
                <c:pt idx="44">
                  <c:v>10.87</c:v>
                </c:pt>
                <c:pt idx="45">
                  <c:v>10.6</c:v>
                </c:pt>
                <c:pt idx="46">
                  <c:v>10.57</c:v>
                </c:pt>
                <c:pt idx="47">
                  <c:v>10.63</c:v>
                </c:pt>
                <c:pt idx="48">
                  <c:v>10.77</c:v>
                </c:pt>
                <c:pt idx="49">
                  <c:v>11.8</c:v>
                </c:pt>
                <c:pt idx="50">
                  <c:v>11.06</c:v>
                </c:pt>
                <c:pt idx="51">
                  <c:v>11.11</c:v>
                </c:pt>
                <c:pt idx="52">
                  <c:v>11.02</c:v>
                </c:pt>
                <c:pt idx="53">
                  <c:v>10.38</c:v>
                </c:pt>
                <c:pt idx="54">
                  <c:v>10.89</c:v>
                </c:pt>
                <c:pt idx="55">
                  <c:v>10.8</c:v>
                </c:pt>
                <c:pt idx="56">
                  <c:v>10.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EAA-4F2F-BF94-FF0B25EF631F}"/>
            </c:ext>
          </c:extLst>
        </c:ser>
        <c:ser>
          <c:idx val="2"/>
          <c:order val="2"/>
          <c:spPr>
            <a:ln w="19050" cmpd="sng" algn="ctr">
              <a:solidFill>
                <a:srgbClr val="D6D7D9"/>
              </a:solidFill>
              <a:prstDash val="solid"/>
            </a:ln>
          </c:spPr>
          <c:marker>
            <c:symbol val="none"/>
          </c:marker>
          <c:val>
            <c:numRef>
              <c:f>Sheet1!$A$3:$BE$3</c:f>
              <c:numCache>
                <c:formatCode>General</c:formatCode>
                <c:ptCount val="57"/>
                <c:pt idx="0">
                  <c:v>10.852</c:v>
                </c:pt>
                <c:pt idx="1">
                  <c:v>10.751000000000001</c:v>
                </c:pt>
                <c:pt idx="2">
                  <c:v>10.347</c:v>
                </c:pt>
                <c:pt idx="3">
                  <c:v>10.347</c:v>
                </c:pt>
                <c:pt idx="4">
                  <c:v>11.155000000000001</c:v>
                </c:pt>
                <c:pt idx="5">
                  <c:v>10.347</c:v>
                </c:pt>
                <c:pt idx="6">
                  <c:v>10.347</c:v>
                </c:pt>
                <c:pt idx="7">
                  <c:v>10.852</c:v>
                </c:pt>
                <c:pt idx="8">
                  <c:v>11.559000000000001</c:v>
                </c:pt>
                <c:pt idx="9">
                  <c:v>11.155000000000001</c:v>
                </c:pt>
                <c:pt idx="10">
                  <c:v>11.155000000000001</c:v>
                </c:pt>
                <c:pt idx="11">
                  <c:v>11.559000000000001</c:v>
                </c:pt>
                <c:pt idx="12">
                  <c:v>11.155000000000001</c:v>
                </c:pt>
                <c:pt idx="13">
                  <c:v>10.347</c:v>
                </c:pt>
                <c:pt idx="14">
                  <c:v>10.751000000000001</c:v>
                </c:pt>
                <c:pt idx="15">
                  <c:v>10.953000000000001</c:v>
                </c:pt>
                <c:pt idx="16">
                  <c:v>11.559000000000001</c:v>
                </c:pt>
                <c:pt idx="17">
                  <c:v>11.256</c:v>
                </c:pt>
                <c:pt idx="18">
                  <c:v>11.256</c:v>
                </c:pt>
                <c:pt idx="19">
                  <c:v>10.852</c:v>
                </c:pt>
                <c:pt idx="20">
                  <c:v>10.953000000000001</c:v>
                </c:pt>
                <c:pt idx="21">
                  <c:v>10.751000000000001</c:v>
                </c:pt>
                <c:pt idx="22">
                  <c:v>11.155000000000001</c:v>
                </c:pt>
                <c:pt idx="23">
                  <c:v>11.256</c:v>
                </c:pt>
                <c:pt idx="24">
                  <c:v>10.751000000000001</c:v>
                </c:pt>
                <c:pt idx="25">
                  <c:v>11.155000000000001</c:v>
                </c:pt>
                <c:pt idx="26">
                  <c:v>11.256</c:v>
                </c:pt>
                <c:pt idx="27">
                  <c:v>10.852</c:v>
                </c:pt>
                <c:pt idx="28">
                  <c:v>10.953000000000001</c:v>
                </c:pt>
                <c:pt idx="29">
                  <c:v>10.852</c:v>
                </c:pt>
                <c:pt idx="30">
                  <c:v>11.155000000000001</c:v>
                </c:pt>
                <c:pt idx="31">
                  <c:v>11.155000000000001</c:v>
                </c:pt>
                <c:pt idx="32">
                  <c:v>10.953000000000001</c:v>
                </c:pt>
                <c:pt idx="33">
                  <c:v>10.953000000000001</c:v>
                </c:pt>
                <c:pt idx="34">
                  <c:v>10.953000000000001</c:v>
                </c:pt>
                <c:pt idx="35">
                  <c:v>11.256</c:v>
                </c:pt>
                <c:pt idx="36">
                  <c:v>11.155000000000001</c:v>
                </c:pt>
                <c:pt idx="37">
                  <c:v>10.953000000000001</c:v>
                </c:pt>
                <c:pt idx="38">
                  <c:v>10.852</c:v>
                </c:pt>
                <c:pt idx="39">
                  <c:v>10.751000000000001</c:v>
                </c:pt>
                <c:pt idx="40">
                  <c:v>10.751000000000001</c:v>
                </c:pt>
                <c:pt idx="41">
                  <c:v>11.155000000000001</c:v>
                </c:pt>
                <c:pt idx="42">
                  <c:v>10.953000000000001</c:v>
                </c:pt>
                <c:pt idx="43">
                  <c:v>10.751000000000001</c:v>
                </c:pt>
                <c:pt idx="44">
                  <c:v>11.559000000000001</c:v>
                </c:pt>
                <c:pt idx="45">
                  <c:v>10.852</c:v>
                </c:pt>
                <c:pt idx="46">
                  <c:v>10.347</c:v>
                </c:pt>
                <c:pt idx="47">
                  <c:v>10.852</c:v>
                </c:pt>
                <c:pt idx="48">
                  <c:v>10.953000000000001</c:v>
                </c:pt>
                <c:pt idx="49">
                  <c:v>10.953000000000001</c:v>
                </c:pt>
                <c:pt idx="50">
                  <c:v>10.953000000000001</c:v>
                </c:pt>
                <c:pt idx="51">
                  <c:v>11.155000000000001</c:v>
                </c:pt>
                <c:pt idx="52">
                  <c:v>11.155000000000001</c:v>
                </c:pt>
                <c:pt idx="53">
                  <c:v>11.155000000000001</c:v>
                </c:pt>
                <c:pt idx="54">
                  <c:v>10.953000000000001</c:v>
                </c:pt>
                <c:pt idx="55">
                  <c:v>10.751000000000001</c:v>
                </c:pt>
                <c:pt idx="56">
                  <c:v>10.751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EAA-4F2F-BF94-FF0B25EF631F}"/>
            </c:ext>
          </c:extLst>
        </c:ser>
        <c:ser>
          <c:idx val="3"/>
          <c:order val="3"/>
          <c:spPr>
            <a:ln w="19050" cmpd="sng" algn="ctr">
              <a:solidFill>
                <a:srgbClr val="D6D7D9"/>
              </a:solidFill>
              <a:prstDash val="solid"/>
            </a:ln>
          </c:spPr>
          <c:marker>
            <c:symbol val="none"/>
          </c:marker>
          <c:val>
            <c:numRef>
              <c:f>Sheet1!$A$4:$BE$4</c:f>
              <c:numCache>
                <c:formatCode>General</c:formatCode>
                <c:ptCount val="57"/>
                <c:pt idx="0">
                  <c:v>9.7519999999999989</c:v>
                </c:pt>
                <c:pt idx="1">
                  <c:v>9.6509999999999998</c:v>
                </c:pt>
                <c:pt idx="2">
                  <c:v>9.2469999999999981</c:v>
                </c:pt>
                <c:pt idx="3">
                  <c:v>9.2469999999999981</c:v>
                </c:pt>
                <c:pt idx="4">
                  <c:v>10.055</c:v>
                </c:pt>
                <c:pt idx="5">
                  <c:v>9.2469999999999981</c:v>
                </c:pt>
                <c:pt idx="6">
                  <c:v>9.2469999999999981</c:v>
                </c:pt>
                <c:pt idx="7">
                  <c:v>9.7519999999999989</c:v>
                </c:pt>
                <c:pt idx="8">
                  <c:v>10.459</c:v>
                </c:pt>
                <c:pt idx="9">
                  <c:v>10.055</c:v>
                </c:pt>
                <c:pt idx="10">
                  <c:v>10.055</c:v>
                </c:pt>
                <c:pt idx="11">
                  <c:v>10.459</c:v>
                </c:pt>
                <c:pt idx="12">
                  <c:v>10.055</c:v>
                </c:pt>
                <c:pt idx="13">
                  <c:v>9.2469999999999981</c:v>
                </c:pt>
                <c:pt idx="14">
                  <c:v>9.6509999999999998</c:v>
                </c:pt>
                <c:pt idx="15">
                  <c:v>9.8529999999999998</c:v>
                </c:pt>
                <c:pt idx="16">
                  <c:v>10.459</c:v>
                </c:pt>
                <c:pt idx="17">
                  <c:v>10.155999999999999</c:v>
                </c:pt>
                <c:pt idx="18">
                  <c:v>10.155999999999999</c:v>
                </c:pt>
                <c:pt idx="19">
                  <c:v>9.7519999999999989</c:v>
                </c:pt>
                <c:pt idx="20">
                  <c:v>9.8529999999999998</c:v>
                </c:pt>
                <c:pt idx="21">
                  <c:v>9.6509999999999998</c:v>
                </c:pt>
                <c:pt idx="22">
                  <c:v>10.055</c:v>
                </c:pt>
                <c:pt idx="23">
                  <c:v>10.155999999999999</c:v>
                </c:pt>
                <c:pt idx="24">
                  <c:v>9.6509999999999998</c:v>
                </c:pt>
                <c:pt idx="25">
                  <c:v>10.055</c:v>
                </c:pt>
                <c:pt idx="26">
                  <c:v>10.155999999999999</c:v>
                </c:pt>
                <c:pt idx="27">
                  <c:v>9.7519999999999989</c:v>
                </c:pt>
                <c:pt idx="28">
                  <c:v>9.8529999999999998</c:v>
                </c:pt>
                <c:pt idx="29">
                  <c:v>9.7519999999999989</c:v>
                </c:pt>
                <c:pt idx="30">
                  <c:v>10.055</c:v>
                </c:pt>
                <c:pt idx="31">
                  <c:v>10.055</c:v>
                </c:pt>
                <c:pt idx="32">
                  <c:v>9.8529999999999998</c:v>
                </c:pt>
                <c:pt idx="33">
                  <c:v>9.8529999999999998</c:v>
                </c:pt>
                <c:pt idx="34">
                  <c:v>9.8529999999999998</c:v>
                </c:pt>
                <c:pt idx="35">
                  <c:v>10.155999999999999</c:v>
                </c:pt>
                <c:pt idx="36">
                  <c:v>10.055</c:v>
                </c:pt>
                <c:pt idx="37">
                  <c:v>9.8529999999999998</c:v>
                </c:pt>
                <c:pt idx="38">
                  <c:v>9.7519999999999989</c:v>
                </c:pt>
                <c:pt idx="39">
                  <c:v>9.6509999999999998</c:v>
                </c:pt>
                <c:pt idx="40">
                  <c:v>9.6509999999999998</c:v>
                </c:pt>
                <c:pt idx="41">
                  <c:v>10.055</c:v>
                </c:pt>
                <c:pt idx="42">
                  <c:v>9.8529999999999998</c:v>
                </c:pt>
                <c:pt idx="43">
                  <c:v>9.6509999999999998</c:v>
                </c:pt>
                <c:pt idx="44">
                  <c:v>10.459</c:v>
                </c:pt>
                <c:pt idx="45">
                  <c:v>9.7519999999999989</c:v>
                </c:pt>
                <c:pt idx="46">
                  <c:v>9.2469999999999981</c:v>
                </c:pt>
                <c:pt idx="47">
                  <c:v>9.7519999999999989</c:v>
                </c:pt>
                <c:pt idx="48">
                  <c:v>9.8529999999999998</c:v>
                </c:pt>
                <c:pt idx="49">
                  <c:v>9.8529999999999998</c:v>
                </c:pt>
                <c:pt idx="50">
                  <c:v>9.8529999999999998</c:v>
                </c:pt>
                <c:pt idx="51">
                  <c:v>10.055</c:v>
                </c:pt>
                <c:pt idx="52">
                  <c:v>10.055</c:v>
                </c:pt>
                <c:pt idx="53">
                  <c:v>10.055</c:v>
                </c:pt>
                <c:pt idx="54">
                  <c:v>9.8529999999999998</c:v>
                </c:pt>
                <c:pt idx="55">
                  <c:v>9.6509999999999998</c:v>
                </c:pt>
                <c:pt idx="56">
                  <c:v>9.650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EAA-4F2F-BF94-FF0B25EF63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44655048"/>
        <c:axId val="1"/>
      </c:lineChart>
      <c:catAx>
        <c:axId val="9446550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.5"/>
          <c:min val="9"/>
        </c:scaling>
        <c:delete val="0"/>
        <c:axPos val="l"/>
        <c:majorGridlines>
          <c:spPr>
            <a:ln>
              <a:noFill/>
            </a:ln>
          </c:spPr>
        </c:majorGridlines>
        <c:numFmt formatCode="0.0;&quot;-&quot;0.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44655048"/>
        <c:crosses val="min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AFA1F7A-CEDA-4B92-B41E-81A5AF4D1C16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036E05A6-C120-4561-B918-9672EC4DF212}">
      <dgm:prSet phldrT="[Text]" phldr="1" custT="1"/>
      <dgm:spPr>
        <a:solidFill>
          <a:schemeClr val="accent6">
            <a:lumMod val="10000"/>
            <a:lumOff val="90000"/>
          </a:schemeClr>
        </a:solidFill>
      </dgm:spPr>
      <dgm:t>
        <a:bodyPr/>
        <a:lstStyle/>
        <a:p>
          <a:endParaRPr lang="en-IN" sz="1600" b="1"/>
        </a:p>
      </dgm:t>
    </dgm:pt>
    <dgm:pt modelId="{54050488-FB99-4DFD-921F-BC7A2E7205D9}" type="parTrans" cxnId="{6B2E71EE-0818-4FD9-B55B-F7397C83565A}">
      <dgm:prSet/>
      <dgm:spPr/>
      <dgm:t>
        <a:bodyPr/>
        <a:lstStyle/>
        <a:p>
          <a:endParaRPr lang="en-IN" sz="1800"/>
        </a:p>
      </dgm:t>
    </dgm:pt>
    <dgm:pt modelId="{588A779F-B8A7-4620-8231-F2FEFD5F297E}" type="sibTrans" cxnId="{6B2E71EE-0818-4FD9-B55B-F7397C83565A}">
      <dgm:prSet/>
      <dgm:spPr/>
      <dgm:t>
        <a:bodyPr/>
        <a:lstStyle/>
        <a:p>
          <a:endParaRPr lang="en-IN" sz="1800"/>
        </a:p>
      </dgm:t>
    </dgm:pt>
    <dgm:pt modelId="{116DCCD3-8980-4A14-A986-ADAA36F9D871}">
      <dgm:prSet phldrT="[Text]" phldr="1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IN" sz="1600" b="1"/>
        </a:p>
      </dgm:t>
    </dgm:pt>
    <dgm:pt modelId="{AC94EE97-4359-40A7-B929-13EB1E99C262}" type="parTrans" cxnId="{E4162A3A-810D-4193-9BD8-D008759540C1}">
      <dgm:prSet/>
      <dgm:spPr/>
      <dgm:t>
        <a:bodyPr/>
        <a:lstStyle/>
        <a:p>
          <a:endParaRPr lang="en-IN" sz="1800"/>
        </a:p>
      </dgm:t>
    </dgm:pt>
    <dgm:pt modelId="{C2272F06-EF5D-4C38-8E71-4268BFEF288A}" type="sibTrans" cxnId="{E4162A3A-810D-4193-9BD8-D008759540C1}">
      <dgm:prSet/>
      <dgm:spPr/>
      <dgm:t>
        <a:bodyPr/>
        <a:lstStyle/>
        <a:p>
          <a:endParaRPr lang="en-IN" sz="1800"/>
        </a:p>
      </dgm:t>
    </dgm:pt>
    <dgm:pt modelId="{358D9700-5E54-429B-99E5-321364A6C051}">
      <dgm:prSet phldrT="[Text]" phldr="1" custT="1"/>
      <dgm:spPr>
        <a:solidFill>
          <a:schemeClr val="tx2">
            <a:lumMod val="50000"/>
          </a:schemeClr>
        </a:solidFill>
      </dgm:spPr>
      <dgm:t>
        <a:bodyPr/>
        <a:lstStyle/>
        <a:p>
          <a:endParaRPr lang="en-IN" sz="1600" b="1"/>
        </a:p>
      </dgm:t>
    </dgm:pt>
    <dgm:pt modelId="{88377AD5-7DCE-4122-A9B4-179FF29D5107}" type="parTrans" cxnId="{6E7FB6F6-6BEC-43A1-A508-159FF33CDFD3}">
      <dgm:prSet/>
      <dgm:spPr/>
      <dgm:t>
        <a:bodyPr/>
        <a:lstStyle/>
        <a:p>
          <a:endParaRPr lang="en-IN" sz="1800"/>
        </a:p>
      </dgm:t>
    </dgm:pt>
    <dgm:pt modelId="{BEC2A4D9-652D-4F8F-80A4-F617854C21CE}" type="sibTrans" cxnId="{6E7FB6F6-6BEC-43A1-A508-159FF33CDFD3}">
      <dgm:prSet/>
      <dgm:spPr/>
      <dgm:t>
        <a:bodyPr/>
        <a:lstStyle/>
        <a:p>
          <a:endParaRPr lang="en-IN" sz="1800"/>
        </a:p>
      </dgm:t>
    </dgm:pt>
    <dgm:pt modelId="{D73CE0FD-9835-4BB9-9041-24EE4118EC29}" type="pres">
      <dgm:prSet presAssocID="{3AFA1F7A-CEDA-4B92-B41E-81A5AF4D1C16}" presName="Name0" presStyleCnt="0">
        <dgm:presLayoutVars>
          <dgm:dir/>
          <dgm:animLvl val="lvl"/>
          <dgm:resizeHandles val="exact"/>
        </dgm:presLayoutVars>
      </dgm:prSet>
      <dgm:spPr/>
    </dgm:pt>
    <dgm:pt modelId="{9AE5CF01-E2AE-49A2-B42F-1DA5CE4D59D2}" type="pres">
      <dgm:prSet presAssocID="{036E05A6-C120-4561-B918-9672EC4DF212}" presName="Name8" presStyleCnt="0"/>
      <dgm:spPr/>
    </dgm:pt>
    <dgm:pt modelId="{94C1C078-C725-4ABC-9144-4C7FEF361092}" type="pres">
      <dgm:prSet presAssocID="{036E05A6-C120-4561-B918-9672EC4DF212}" presName="level" presStyleLbl="node1" presStyleIdx="0" presStyleCnt="3">
        <dgm:presLayoutVars>
          <dgm:chMax val="1"/>
          <dgm:bulletEnabled val="1"/>
        </dgm:presLayoutVars>
      </dgm:prSet>
      <dgm:spPr/>
    </dgm:pt>
    <dgm:pt modelId="{21C9F37F-8B6F-483F-9666-26A7EC84E17D}" type="pres">
      <dgm:prSet presAssocID="{036E05A6-C120-4561-B918-9672EC4DF21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FBF09FB-A38A-44A4-B2F6-7CA0CD54E3F5}" type="pres">
      <dgm:prSet presAssocID="{116DCCD3-8980-4A14-A986-ADAA36F9D871}" presName="Name8" presStyleCnt="0"/>
      <dgm:spPr/>
    </dgm:pt>
    <dgm:pt modelId="{36DE7232-AC3E-478D-A42B-D2D23C532C73}" type="pres">
      <dgm:prSet presAssocID="{116DCCD3-8980-4A14-A986-ADAA36F9D871}" presName="level" presStyleLbl="node1" presStyleIdx="1" presStyleCnt="3">
        <dgm:presLayoutVars>
          <dgm:chMax val="1"/>
          <dgm:bulletEnabled val="1"/>
        </dgm:presLayoutVars>
      </dgm:prSet>
      <dgm:spPr/>
    </dgm:pt>
    <dgm:pt modelId="{35588734-8CD6-434A-A72E-4D71A8E05D51}" type="pres">
      <dgm:prSet presAssocID="{116DCCD3-8980-4A14-A986-ADAA36F9D871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8BA50B0-ECF5-4922-9294-B81E13407B21}" type="pres">
      <dgm:prSet presAssocID="{358D9700-5E54-429B-99E5-321364A6C051}" presName="Name8" presStyleCnt="0"/>
      <dgm:spPr/>
    </dgm:pt>
    <dgm:pt modelId="{6DD9AFD6-85A3-4176-A6EC-F797AA86814C}" type="pres">
      <dgm:prSet presAssocID="{358D9700-5E54-429B-99E5-321364A6C051}" presName="level" presStyleLbl="node1" presStyleIdx="2" presStyleCnt="3">
        <dgm:presLayoutVars>
          <dgm:chMax val="1"/>
          <dgm:bulletEnabled val="1"/>
        </dgm:presLayoutVars>
      </dgm:prSet>
      <dgm:spPr/>
    </dgm:pt>
    <dgm:pt modelId="{EFCDD072-ED36-4EB6-AE37-82B0A30DEB5B}" type="pres">
      <dgm:prSet presAssocID="{358D9700-5E54-429B-99E5-321364A6C051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16978030-E55B-42AD-91EC-549B45208D68}" type="presOf" srcId="{116DCCD3-8980-4A14-A986-ADAA36F9D871}" destId="{35588734-8CD6-434A-A72E-4D71A8E05D51}" srcOrd="1" destOrd="0" presId="urn:microsoft.com/office/officeart/2005/8/layout/pyramid1"/>
    <dgm:cxn modelId="{E4162A3A-810D-4193-9BD8-D008759540C1}" srcId="{3AFA1F7A-CEDA-4B92-B41E-81A5AF4D1C16}" destId="{116DCCD3-8980-4A14-A986-ADAA36F9D871}" srcOrd="1" destOrd="0" parTransId="{AC94EE97-4359-40A7-B929-13EB1E99C262}" sibTransId="{C2272F06-EF5D-4C38-8E71-4268BFEF288A}"/>
    <dgm:cxn modelId="{90D35F71-2FC4-4439-B4A5-C2A757B2931A}" type="presOf" srcId="{3AFA1F7A-CEDA-4B92-B41E-81A5AF4D1C16}" destId="{D73CE0FD-9835-4BB9-9041-24EE4118EC29}" srcOrd="0" destOrd="0" presId="urn:microsoft.com/office/officeart/2005/8/layout/pyramid1"/>
    <dgm:cxn modelId="{7726C078-338A-413E-AAC3-664900403616}" type="presOf" srcId="{358D9700-5E54-429B-99E5-321364A6C051}" destId="{EFCDD072-ED36-4EB6-AE37-82B0A30DEB5B}" srcOrd="1" destOrd="0" presId="urn:microsoft.com/office/officeart/2005/8/layout/pyramid1"/>
    <dgm:cxn modelId="{1E5DB792-1991-4D6F-AB10-994E1D8D726E}" type="presOf" srcId="{036E05A6-C120-4561-B918-9672EC4DF212}" destId="{21C9F37F-8B6F-483F-9666-26A7EC84E17D}" srcOrd="1" destOrd="0" presId="urn:microsoft.com/office/officeart/2005/8/layout/pyramid1"/>
    <dgm:cxn modelId="{3987A6AB-F139-44EA-AE3B-43A3D91F8C90}" type="presOf" srcId="{358D9700-5E54-429B-99E5-321364A6C051}" destId="{6DD9AFD6-85A3-4176-A6EC-F797AA86814C}" srcOrd="0" destOrd="0" presId="urn:microsoft.com/office/officeart/2005/8/layout/pyramid1"/>
    <dgm:cxn modelId="{47CBF2D6-8606-4994-A190-1E3A0ADBB53A}" type="presOf" srcId="{036E05A6-C120-4561-B918-9672EC4DF212}" destId="{94C1C078-C725-4ABC-9144-4C7FEF361092}" srcOrd="0" destOrd="0" presId="urn:microsoft.com/office/officeart/2005/8/layout/pyramid1"/>
    <dgm:cxn modelId="{2B9ED6EC-3B5D-41AE-B1C7-F15293E1D968}" type="presOf" srcId="{116DCCD3-8980-4A14-A986-ADAA36F9D871}" destId="{36DE7232-AC3E-478D-A42B-D2D23C532C73}" srcOrd="0" destOrd="0" presId="urn:microsoft.com/office/officeart/2005/8/layout/pyramid1"/>
    <dgm:cxn modelId="{6B2E71EE-0818-4FD9-B55B-F7397C83565A}" srcId="{3AFA1F7A-CEDA-4B92-B41E-81A5AF4D1C16}" destId="{036E05A6-C120-4561-B918-9672EC4DF212}" srcOrd="0" destOrd="0" parTransId="{54050488-FB99-4DFD-921F-BC7A2E7205D9}" sibTransId="{588A779F-B8A7-4620-8231-F2FEFD5F297E}"/>
    <dgm:cxn modelId="{6E7FB6F6-6BEC-43A1-A508-159FF33CDFD3}" srcId="{3AFA1F7A-CEDA-4B92-B41E-81A5AF4D1C16}" destId="{358D9700-5E54-429B-99E5-321364A6C051}" srcOrd="2" destOrd="0" parTransId="{88377AD5-7DCE-4122-A9B4-179FF29D5107}" sibTransId="{BEC2A4D9-652D-4F8F-80A4-F617854C21CE}"/>
    <dgm:cxn modelId="{A216F5C2-E7BA-4951-A79A-57E8819B9438}" type="presParOf" srcId="{D73CE0FD-9835-4BB9-9041-24EE4118EC29}" destId="{9AE5CF01-E2AE-49A2-B42F-1DA5CE4D59D2}" srcOrd="0" destOrd="0" presId="urn:microsoft.com/office/officeart/2005/8/layout/pyramid1"/>
    <dgm:cxn modelId="{C1AD5A47-F3B9-4C34-B105-C184A43F101F}" type="presParOf" srcId="{9AE5CF01-E2AE-49A2-B42F-1DA5CE4D59D2}" destId="{94C1C078-C725-4ABC-9144-4C7FEF361092}" srcOrd="0" destOrd="0" presId="urn:microsoft.com/office/officeart/2005/8/layout/pyramid1"/>
    <dgm:cxn modelId="{E58AE939-1C75-4119-80F3-E1AE9A743AA6}" type="presParOf" srcId="{9AE5CF01-E2AE-49A2-B42F-1DA5CE4D59D2}" destId="{21C9F37F-8B6F-483F-9666-26A7EC84E17D}" srcOrd="1" destOrd="0" presId="urn:microsoft.com/office/officeart/2005/8/layout/pyramid1"/>
    <dgm:cxn modelId="{CBD52B21-B0D3-45E5-9ABC-9F8E06CF5150}" type="presParOf" srcId="{D73CE0FD-9835-4BB9-9041-24EE4118EC29}" destId="{BFBF09FB-A38A-44A4-B2F6-7CA0CD54E3F5}" srcOrd="1" destOrd="0" presId="urn:microsoft.com/office/officeart/2005/8/layout/pyramid1"/>
    <dgm:cxn modelId="{49B00BBB-0390-430F-AC40-09DE4C1CC233}" type="presParOf" srcId="{BFBF09FB-A38A-44A4-B2F6-7CA0CD54E3F5}" destId="{36DE7232-AC3E-478D-A42B-D2D23C532C73}" srcOrd="0" destOrd="0" presId="urn:microsoft.com/office/officeart/2005/8/layout/pyramid1"/>
    <dgm:cxn modelId="{4C3FBD46-A80F-46B5-A97E-EDE49BEBD39A}" type="presParOf" srcId="{BFBF09FB-A38A-44A4-B2F6-7CA0CD54E3F5}" destId="{35588734-8CD6-434A-A72E-4D71A8E05D51}" srcOrd="1" destOrd="0" presId="urn:microsoft.com/office/officeart/2005/8/layout/pyramid1"/>
    <dgm:cxn modelId="{60533701-B51B-4A71-A2C9-427FDF2600E2}" type="presParOf" srcId="{D73CE0FD-9835-4BB9-9041-24EE4118EC29}" destId="{08BA50B0-ECF5-4922-9294-B81E13407B21}" srcOrd="2" destOrd="0" presId="urn:microsoft.com/office/officeart/2005/8/layout/pyramid1"/>
    <dgm:cxn modelId="{D834A31E-C981-4D67-B97A-F9677972EC9F}" type="presParOf" srcId="{08BA50B0-ECF5-4922-9294-B81E13407B21}" destId="{6DD9AFD6-85A3-4176-A6EC-F797AA86814C}" srcOrd="0" destOrd="0" presId="urn:microsoft.com/office/officeart/2005/8/layout/pyramid1"/>
    <dgm:cxn modelId="{9D5E9DD1-86E3-4687-9187-356BC7632C19}" type="presParOf" srcId="{08BA50B0-ECF5-4922-9294-B81E13407B21}" destId="{EFCDD072-ED36-4EB6-AE37-82B0A30DEB5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AFA1F7A-CEDA-4B92-B41E-81A5AF4D1C16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036E05A6-C120-4561-B918-9672EC4DF212}">
      <dgm:prSet phldrT="[Text]" phldr="1" custT="1"/>
      <dgm:spPr>
        <a:solidFill>
          <a:schemeClr val="accent6">
            <a:lumMod val="10000"/>
            <a:lumOff val="90000"/>
          </a:schemeClr>
        </a:solidFill>
      </dgm:spPr>
      <dgm:t>
        <a:bodyPr/>
        <a:lstStyle/>
        <a:p>
          <a:endParaRPr lang="en-IN" sz="1600" b="1"/>
        </a:p>
      </dgm:t>
    </dgm:pt>
    <dgm:pt modelId="{54050488-FB99-4DFD-921F-BC7A2E7205D9}" type="parTrans" cxnId="{6B2E71EE-0818-4FD9-B55B-F7397C83565A}">
      <dgm:prSet/>
      <dgm:spPr/>
      <dgm:t>
        <a:bodyPr/>
        <a:lstStyle/>
        <a:p>
          <a:endParaRPr lang="en-IN" sz="1800"/>
        </a:p>
      </dgm:t>
    </dgm:pt>
    <dgm:pt modelId="{588A779F-B8A7-4620-8231-F2FEFD5F297E}" type="sibTrans" cxnId="{6B2E71EE-0818-4FD9-B55B-F7397C83565A}">
      <dgm:prSet/>
      <dgm:spPr/>
      <dgm:t>
        <a:bodyPr/>
        <a:lstStyle/>
        <a:p>
          <a:endParaRPr lang="en-IN" sz="1800"/>
        </a:p>
      </dgm:t>
    </dgm:pt>
    <dgm:pt modelId="{116DCCD3-8980-4A14-A986-ADAA36F9D871}">
      <dgm:prSet phldrT="[Text]" phldr="1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IN" sz="1600" b="1"/>
        </a:p>
      </dgm:t>
    </dgm:pt>
    <dgm:pt modelId="{AC94EE97-4359-40A7-B929-13EB1E99C262}" type="parTrans" cxnId="{E4162A3A-810D-4193-9BD8-D008759540C1}">
      <dgm:prSet/>
      <dgm:spPr/>
      <dgm:t>
        <a:bodyPr/>
        <a:lstStyle/>
        <a:p>
          <a:endParaRPr lang="en-IN" sz="1800"/>
        </a:p>
      </dgm:t>
    </dgm:pt>
    <dgm:pt modelId="{C2272F06-EF5D-4C38-8E71-4268BFEF288A}" type="sibTrans" cxnId="{E4162A3A-810D-4193-9BD8-D008759540C1}">
      <dgm:prSet/>
      <dgm:spPr/>
      <dgm:t>
        <a:bodyPr/>
        <a:lstStyle/>
        <a:p>
          <a:endParaRPr lang="en-IN" sz="1800"/>
        </a:p>
      </dgm:t>
    </dgm:pt>
    <dgm:pt modelId="{358D9700-5E54-429B-99E5-321364A6C051}">
      <dgm:prSet phldrT="[Text]" phldr="1" custT="1"/>
      <dgm:spPr>
        <a:solidFill>
          <a:schemeClr val="tx2">
            <a:lumMod val="50000"/>
          </a:schemeClr>
        </a:solidFill>
      </dgm:spPr>
      <dgm:t>
        <a:bodyPr/>
        <a:lstStyle/>
        <a:p>
          <a:endParaRPr lang="en-IN" sz="1600" b="1"/>
        </a:p>
      </dgm:t>
    </dgm:pt>
    <dgm:pt modelId="{88377AD5-7DCE-4122-A9B4-179FF29D5107}" type="parTrans" cxnId="{6E7FB6F6-6BEC-43A1-A508-159FF33CDFD3}">
      <dgm:prSet/>
      <dgm:spPr/>
      <dgm:t>
        <a:bodyPr/>
        <a:lstStyle/>
        <a:p>
          <a:endParaRPr lang="en-IN" sz="1800"/>
        </a:p>
      </dgm:t>
    </dgm:pt>
    <dgm:pt modelId="{BEC2A4D9-652D-4F8F-80A4-F617854C21CE}" type="sibTrans" cxnId="{6E7FB6F6-6BEC-43A1-A508-159FF33CDFD3}">
      <dgm:prSet/>
      <dgm:spPr/>
      <dgm:t>
        <a:bodyPr/>
        <a:lstStyle/>
        <a:p>
          <a:endParaRPr lang="en-IN" sz="1800"/>
        </a:p>
      </dgm:t>
    </dgm:pt>
    <dgm:pt modelId="{D73CE0FD-9835-4BB9-9041-24EE4118EC29}" type="pres">
      <dgm:prSet presAssocID="{3AFA1F7A-CEDA-4B92-B41E-81A5AF4D1C16}" presName="Name0" presStyleCnt="0">
        <dgm:presLayoutVars>
          <dgm:dir/>
          <dgm:animLvl val="lvl"/>
          <dgm:resizeHandles val="exact"/>
        </dgm:presLayoutVars>
      </dgm:prSet>
      <dgm:spPr/>
    </dgm:pt>
    <dgm:pt modelId="{9AE5CF01-E2AE-49A2-B42F-1DA5CE4D59D2}" type="pres">
      <dgm:prSet presAssocID="{036E05A6-C120-4561-B918-9672EC4DF212}" presName="Name8" presStyleCnt="0"/>
      <dgm:spPr/>
    </dgm:pt>
    <dgm:pt modelId="{94C1C078-C725-4ABC-9144-4C7FEF361092}" type="pres">
      <dgm:prSet presAssocID="{036E05A6-C120-4561-B918-9672EC4DF212}" presName="level" presStyleLbl="node1" presStyleIdx="0" presStyleCnt="3">
        <dgm:presLayoutVars>
          <dgm:chMax val="1"/>
          <dgm:bulletEnabled val="1"/>
        </dgm:presLayoutVars>
      </dgm:prSet>
      <dgm:spPr/>
    </dgm:pt>
    <dgm:pt modelId="{21C9F37F-8B6F-483F-9666-26A7EC84E17D}" type="pres">
      <dgm:prSet presAssocID="{036E05A6-C120-4561-B918-9672EC4DF21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FBF09FB-A38A-44A4-B2F6-7CA0CD54E3F5}" type="pres">
      <dgm:prSet presAssocID="{116DCCD3-8980-4A14-A986-ADAA36F9D871}" presName="Name8" presStyleCnt="0"/>
      <dgm:spPr/>
    </dgm:pt>
    <dgm:pt modelId="{36DE7232-AC3E-478D-A42B-D2D23C532C73}" type="pres">
      <dgm:prSet presAssocID="{116DCCD3-8980-4A14-A986-ADAA36F9D871}" presName="level" presStyleLbl="node1" presStyleIdx="1" presStyleCnt="3">
        <dgm:presLayoutVars>
          <dgm:chMax val="1"/>
          <dgm:bulletEnabled val="1"/>
        </dgm:presLayoutVars>
      </dgm:prSet>
      <dgm:spPr/>
    </dgm:pt>
    <dgm:pt modelId="{35588734-8CD6-434A-A72E-4D71A8E05D51}" type="pres">
      <dgm:prSet presAssocID="{116DCCD3-8980-4A14-A986-ADAA36F9D871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8BA50B0-ECF5-4922-9294-B81E13407B21}" type="pres">
      <dgm:prSet presAssocID="{358D9700-5E54-429B-99E5-321364A6C051}" presName="Name8" presStyleCnt="0"/>
      <dgm:spPr/>
    </dgm:pt>
    <dgm:pt modelId="{6DD9AFD6-85A3-4176-A6EC-F797AA86814C}" type="pres">
      <dgm:prSet presAssocID="{358D9700-5E54-429B-99E5-321364A6C051}" presName="level" presStyleLbl="node1" presStyleIdx="2" presStyleCnt="3">
        <dgm:presLayoutVars>
          <dgm:chMax val="1"/>
          <dgm:bulletEnabled val="1"/>
        </dgm:presLayoutVars>
      </dgm:prSet>
      <dgm:spPr/>
    </dgm:pt>
    <dgm:pt modelId="{EFCDD072-ED36-4EB6-AE37-82B0A30DEB5B}" type="pres">
      <dgm:prSet presAssocID="{358D9700-5E54-429B-99E5-321364A6C051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16978030-E55B-42AD-91EC-549B45208D68}" type="presOf" srcId="{116DCCD3-8980-4A14-A986-ADAA36F9D871}" destId="{35588734-8CD6-434A-A72E-4D71A8E05D51}" srcOrd="1" destOrd="0" presId="urn:microsoft.com/office/officeart/2005/8/layout/pyramid1"/>
    <dgm:cxn modelId="{E4162A3A-810D-4193-9BD8-D008759540C1}" srcId="{3AFA1F7A-CEDA-4B92-B41E-81A5AF4D1C16}" destId="{116DCCD3-8980-4A14-A986-ADAA36F9D871}" srcOrd="1" destOrd="0" parTransId="{AC94EE97-4359-40A7-B929-13EB1E99C262}" sibTransId="{C2272F06-EF5D-4C38-8E71-4268BFEF288A}"/>
    <dgm:cxn modelId="{90D35F71-2FC4-4439-B4A5-C2A757B2931A}" type="presOf" srcId="{3AFA1F7A-CEDA-4B92-B41E-81A5AF4D1C16}" destId="{D73CE0FD-9835-4BB9-9041-24EE4118EC29}" srcOrd="0" destOrd="0" presId="urn:microsoft.com/office/officeart/2005/8/layout/pyramid1"/>
    <dgm:cxn modelId="{7726C078-338A-413E-AAC3-664900403616}" type="presOf" srcId="{358D9700-5E54-429B-99E5-321364A6C051}" destId="{EFCDD072-ED36-4EB6-AE37-82B0A30DEB5B}" srcOrd="1" destOrd="0" presId="urn:microsoft.com/office/officeart/2005/8/layout/pyramid1"/>
    <dgm:cxn modelId="{1E5DB792-1991-4D6F-AB10-994E1D8D726E}" type="presOf" srcId="{036E05A6-C120-4561-B918-9672EC4DF212}" destId="{21C9F37F-8B6F-483F-9666-26A7EC84E17D}" srcOrd="1" destOrd="0" presId="urn:microsoft.com/office/officeart/2005/8/layout/pyramid1"/>
    <dgm:cxn modelId="{3987A6AB-F139-44EA-AE3B-43A3D91F8C90}" type="presOf" srcId="{358D9700-5E54-429B-99E5-321364A6C051}" destId="{6DD9AFD6-85A3-4176-A6EC-F797AA86814C}" srcOrd="0" destOrd="0" presId="urn:microsoft.com/office/officeart/2005/8/layout/pyramid1"/>
    <dgm:cxn modelId="{47CBF2D6-8606-4994-A190-1E3A0ADBB53A}" type="presOf" srcId="{036E05A6-C120-4561-B918-9672EC4DF212}" destId="{94C1C078-C725-4ABC-9144-4C7FEF361092}" srcOrd="0" destOrd="0" presId="urn:microsoft.com/office/officeart/2005/8/layout/pyramid1"/>
    <dgm:cxn modelId="{2B9ED6EC-3B5D-41AE-B1C7-F15293E1D968}" type="presOf" srcId="{116DCCD3-8980-4A14-A986-ADAA36F9D871}" destId="{36DE7232-AC3E-478D-A42B-D2D23C532C73}" srcOrd="0" destOrd="0" presId="urn:microsoft.com/office/officeart/2005/8/layout/pyramid1"/>
    <dgm:cxn modelId="{6B2E71EE-0818-4FD9-B55B-F7397C83565A}" srcId="{3AFA1F7A-CEDA-4B92-B41E-81A5AF4D1C16}" destId="{036E05A6-C120-4561-B918-9672EC4DF212}" srcOrd="0" destOrd="0" parTransId="{54050488-FB99-4DFD-921F-BC7A2E7205D9}" sibTransId="{588A779F-B8A7-4620-8231-F2FEFD5F297E}"/>
    <dgm:cxn modelId="{6E7FB6F6-6BEC-43A1-A508-159FF33CDFD3}" srcId="{3AFA1F7A-CEDA-4B92-B41E-81A5AF4D1C16}" destId="{358D9700-5E54-429B-99E5-321364A6C051}" srcOrd="2" destOrd="0" parTransId="{88377AD5-7DCE-4122-A9B4-179FF29D5107}" sibTransId="{BEC2A4D9-652D-4F8F-80A4-F617854C21CE}"/>
    <dgm:cxn modelId="{A216F5C2-E7BA-4951-A79A-57E8819B9438}" type="presParOf" srcId="{D73CE0FD-9835-4BB9-9041-24EE4118EC29}" destId="{9AE5CF01-E2AE-49A2-B42F-1DA5CE4D59D2}" srcOrd="0" destOrd="0" presId="urn:microsoft.com/office/officeart/2005/8/layout/pyramid1"/>
    <dgm:cxn modelId="{C1AD5A47-F3B9-4C34-B105-C184A43F101F}" type="presParOf" srcId="{9AE5CF01-E2AE-49A2-B42F-1DA5CE4D59D2}" destId="{94C1C078-C725-4ABC-9144-4C7FEF361092}" srcOrd="0" destOrd="0" presId="urn:microsoft.com/office/officeart/2005/8/layout/pyramid1"/>
    <dgm:cxn modelId="{E58AE939-1C75-4119-80F3-E1AE9A743AA6}" type="presParOf" srcId="{9AE5CF01-E2AE-49A2-B42F-1DA5CE4D59D2}" destId="{21C9F37F-8B6F-483F-9666-26A7EC84E17D}" srcOrd="1" destOrd="0" presId="urn:microsoft.com/office/officeart/2005/8/layout/pyramid1"/>
    <dgm:cxn modelId="{CBD52B21-B0D3-45E5-9ABC-9F8E06CF5150}" type="presParOf" srcId="{D73CE0FD-9835-4BB9-9041-24EE4118EC29}" destId="{BFBF09FB-A38A-44A4-B2F6-7CA0CD54E3F5}" srcOrd="1" destOrd="0" presId="urn:microsoft.com/office/officeart/2005/8/layout/pyramid1"/>
    <dgm:cxn modelId="{49B00BBB-0390-430F-AC40-09DE4C1CC233}" type="presParOf" srcId="{BFBF09FB-A38A-44A4-B2F6-7CA0CD54E3F5}" destId="{36DE7232-AC3E-478D-A42B-D2D23C532C73}" srcOrd="0" destOrd="0" presId="urn:microsoft.com/office/officeart/2005/8/layout/pyramid1"/>
    <dgm:cxn modelId="{4C3FBD46-A80F-46B5-A97E-EDE49BEBD39A}" type="presParOf" srcId="{BFBF09FB-A38A-44A4-B2F6-7CA0CD54E3F5}" destId="{35588734-8CD6-434A-A72E-4D71A8E05D51}" srcOrd="1" destOrd="0" presId="urn:microsoft.com/office/officeart/2005/8/layout/pyramid1"/>
    <dgm:cxn modelId="{60533701-B51B-4A71-A2C9-427FDF2600E2}" type="presParOf" srcId="{D73CE0FD-9835-4BB9-9041-24EE4118EC29}" destId="{08BA50B0-ECF5-4922-9294-B81E13407B21}" srcOrd="2" destOrd="0" presId="urn:microsoft.com/office/officeart/2005/8/layout/pyramid1"/>
    <dgm:cxn modelId="{D834A31E-C981-4D67-B97A-F9677972EC9F}" type="presParOf" srcId="{08BA50B0-ECF5-4922-9294-B81E13407B21}" destId="{6DD9AFD6-85A3-4176-A6EC-F797AA86814C}" srcOrd="0" destOrd="0" presId="urn:microsoft.com/office/officeart/2005/8/layout/pyramid1"/>
    <dgm:cxn modelId="{9D5E9DD1-86E3-4687-9187-356BC7632C19}" type="presParOf" srcId="{08BA50B0-ECF5-4922-9294-B81E13407B21}" destId="{EFCDD072-ED36-4EB6-AE37-82B0A30DEB5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AFA1F7A-CEDA-4B92-B41E-81A5AF4D1C16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036E05A6-C120-4561-B918-9672EC4DF212}">
      <dgm:prSet phldrT="[Text]" phldr="1" custT="1"/>
      <dgm:spPr>
        <a:solidFill>
          <a:schemeClr val="accent6">
            <a:lumMod val="10000"/>
            <a:lumOff val="90000"/>
          </a:schemeClr>
        </a:solidFill>
      </dgm:spPr>
      <dgm:t>
        <a:bodyPr/>
        <a:lstStyle/>
        <a:p>
          <a:endParaRPr lang="en-IN" sz="1600" b="1"/>
        </a:p>
      </dgm:t>
    </dgm:pt>
    <dgm:pt modelId="{54050488-FB99-4DFD-921F-BC7A2E7205D9}" type="parTrans" cxnId="{6B2E71EE-0818-4FD9-B55B-F7397C83565A}">
      <dgm:prSet/>
      <dgm:spPr/>
      <dgm:t>
        <a:bodyPr/>
        <a:lstStyle/>
        <a:p>
          <a:endParaRPr lang="en-IN" sz="1800"/>
        </a:p>
      </dgm:t>
    </dgm:pt>
    <dgm:pt modelId="{588A779F-B8A7-4620-8231-F2FEFD5F297E}" type="sibTrans" cxnId="{6B2E71EE-0818-4FD9-B55B-F7397C83565A}">
      <dgm:prSet/>
      <dgm:spPr/>
      <dgm:t>
        <a:bodyPr/>
        <a:lstStyle/>
        <a:p>
          <a:endParaRPr lang="en-IN" sz="1800"/>
        </a:p>
      </dgm:t>
    </dgm:pt>
    <dgm:pt modelId="{116DCCD3-8980-4A14-A986-ADAA36F9D871}">
      <dgm:prSet phldrT="[Text]" phldr="1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IN" sz="1600" b="1"/>
        </a:p>
      </dgm:t>
    </dgm:pt>
    <dgm:pt modelId="{AC94EE97-4359-40A7-B929-13EB1E99C262}" type="parTrans" cxnId="{E4162A3A-810D-4193-9BD8-D008759540C1}">
      <dgm:prSet/>
      <dgm:spPr/>
      <dgm:t>
        <a:bodyPr/>
        <a:lstStyle/>
        <a:p>
          <a:endParaRPr lang="en-IN" sz="1800"/>
        </a:p>
      </dgm:t>
    </dgm:pt>
    <dgm:pt modelId="{C2272F06-EF5D-4C38-8E71-4268BFEF288A}" type="sibTrans" cxnId="{E4162A3A-810D-4193-9BD8-D008759540C1}">
      <dgm:prSet/>
      <dgm:spPr/>
      <dgm:t>
        <a:bodyPr/>
        <a:lstStyle/>
        <a:p>
          <a:endParaRPr lang="en-IN" sz="1800"/>
        </a:p>
      </dgm:t>
    </dgm:pt>
    <dgm:pt modelId="{358D9700-5E54-429B-99E5-321364A6C051}">
      <dgm:prSet phldrT="[Text]" phldr="1" custT="1"/>
      <dgm:spPr>
        <a:solidFill>
          <a:schemeClr val="tx2">
            <a:lumMod val="50000"/>
          </a:schemeClr>
        </a:solidFill>
      </dgm:spPr>
      <dgm:t>
        <a:bodyPr/>
        <a:lstStyle/>
        <a:p>
          <a:endParaRPr lang="en-IN" sz="1600" b="1"/>
        </a:p>
      </dgm:t>
    </dgm:pt>
    <dgm:pt modelId="{88377AD5-7DCE-4122-A9B4-179FF29D5107}" type="parTrans" cxnId="{6E7FB6F6-6BEC-43A1-A508-159FF33CDFD3}">
      <dgm:prSet/>
      <dgm:spPr/>
      <dgm:t>
        <a:bodyPr/>
        <a:lstStyle/>
        <a:p>
          <a:endParaRPr lang="en-IN" sz="1800"/>
        </a:p>
      </dgm:t>
    </dgm:pt>
    <dgm:pt modelId="{BEC2A4D9-652D-4F8F-80A4-F617854C21CE}" type="sibTrans" cxnId="{6E7FB6F6-6BEC-43A1-A508-159FF33CDFD3}">
      <dgm:prSet/>
      <dgm:spPr/>
      <dgm:t>
        <a:bodyPr/>
        <a:lstStyle/>
        <a:p>
          <a:endParaRPr lang="en-IN" sz="1800"/>
        </a:p>
      </dgm:t>
    </dgm:pt>
    <dgm:pt modelId="{D73CE0FD-9835-4BB9-9041-24EE4118EC29}" type="pres">
      <dgm:prSet presAssocID="{3AFA1F7A-CEDA-4B92-B41E-81A5AF4D1C16}" presName="Name0" presStyleCnt="0">
        <dgm:presLayoutVars>
          <dgm:dir/>
          <dgm:animLvl val="lvl"/>
          <dgm:resizeHandles val="exact"/>
        </dgm:presLayoutVars>
      </dgm:prSet>
      <dgm:spPr/>
    </dgm:pt>
    <dgm:pt modelId="{9AE5CF01-E2AE-49A2-B42F-1DA5CE4D59D2}" type="pres">
      <dgm:prSet presAssocID="{036E05A6-C120-4561-B918-9672EC4DF212}" presName="Name8" presStyleCnt="0"/>
      <dgm:spPr/>
    </dgm:pt>
    <dgm:pt modelId="{94C1C078-C725-4ABC-9144-4C7FEF361092}" type="pres">
      <dgm:prSet presAssocID="{036E05A6-C120-4561-B918-9672EC4DF212}" presName="level" presStyleLbl="node1" presStyleIdx="0" presStyleCnt="3">
        <dgm:presLayoutVars>
          <dgm:chMax val="1"/>
          <dgm:bulletEnabled val="1"/>
        </dgm:presLayoutVars>
      </dgm:prSet>
      <dgm:spPr/>
    </dgm:pt>
    <dgm:pt modelId="{21C9F37F-8B6F-483F-9666-26A7EC84E17D}" type="pres">
      <dgm:prSet presAssocID="{036E05A6-C120-4561-B918-9672EC4DF21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FBF09FB-A38A-44A4-B2F6-7CA0CD54E3F5}" type="pres">
      <dgm:prSet presAssocID="{116DCCD3-8980-4A14-A986-ADAA36F9D871}" presName="Name8" presStyleCnt="0"/>
      <dgm:spPr/>
    </dgm:pt>
    <dgm:pt modelId="{36DE7232-AC3E-478D-A42B-D2D23C532C73}" type="pres">
      <dgm:prSet presAssocID="{116DCCD3-8980-4A14-A986-ADAA36F9D871}" presName="level" presStyleLbl="node1" presStyleIdx="1" presStyleCnt="3">
        <dgm:presLayoutVars>
          <dgm:chMax val="1"/>
          <dgm:bulletEnabled val="1"/>
        </dgm:presLayoutVars>
      </dgm:prSet>
      <dgm:spPr/>
    </dgm:pt>
    <dgm:pt modelId="{35588734-8CD6-434A-A72E-4D71A8E05D51}" type="pres">
      <dgm:prSet presAssocID="{116DCCD3-8980-4A14-A986-ADAA36F9D871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8BA50B0-ECF5-4922-9294-B81E13407B21}" type="pres">
      <dgm:prSet presAssocID="{358D9700-5E54-429B-99E5-321364A6C051}" presName="Name8" presStyleCnt="0"/>
      <dgm:spPr/>
    </dgm:pt>
    <dgm:pt modelId="{6DD9AFD6-85A3-4176-A6EC-F797AA86814C}" type="pres">
      <dgm:prSet presAssocID="{358D9700-5E54-429B-99E5-321364A6C051}" presName="level" presStyleLbl="node1" presStyleIdx="2" presStyleCnt="3">
        <dgm:presLayoutVars>
          <dgm:chMax val="1"/>
          <dgm:bulletEnabled val="1"/>
        </dgm:presLayoutVars>
      </dgm:prSet>
      <dgm:spPr/>
    </dgm:pt>
    <dgm:pt modelId="{EFCDD072-ED36-4EB6-AE37-82B0A30DEB5B}" type="pres">
      <dgm:prSet presAssocID="{358D9700-5E54-429B-99E5-321364A6C051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16978030-E55B-42AD-91EC-549B45208D68}" type="presOf" srcId="{116DCCD3-8980-4A14-A986-ADAA36F9D871}" destId="{35588734-8CD6-434A-A72E-4D71A8E05D51}" srcOrd="1" destOrd="0" presId="urn:microsoft.com/office/officeart/2005/8/layout/pyramid1"/>
    <dgm:cxn modelId="{E4162A3A-810D-4193-9BD8-D008759540C1}" srcId="{3AFA1F7A-CEDA-4B92-B41E-81A5AF4D1C16}" destId="{116DCCD3-8980-4A14-A986-ADAA36F9D871}" srcOrd="1" destOrd="0" parTransId="{AC94EE97-4359-40A7-B929-13EB1E99C262}" sibTransId="{C2272F06-EF5D-4C38-8E71-4268BFEF288A}"/>
    <dgm:cxn modelId="{90D35F71-2FC4-4439-B4A5-C2A757B2931A}" type="presOf" srcId="{3AFA1F7A-CEDA-4B92-B41E-81A5AF4D1C16}" destId="{D73CE0FD-9835-4BB9-9041-24EE4118EC29}" srcOrd="0" destOrd="0" presId="urn:microsoft.com/office/officeart/2005/8/layout/pyramid1"/>
    <dgm:cxn modelId="{7726C078-338A-413E-AAC3-664900403616}" type="presOf" srcId="{358D9700-5E54-429B-99E5-321364A6C051}" destId="{EFCDD072-ED36-4EB6-AE37-82B0A30DEB5B}" srcOrd="1" destOrd="0" presId="urn:microsoft.com/office/officeart/2005/8/layout/pyramid1"/>
    <dgm:cxn modelId="{1E5DB792-1991-4D6F-AB10-994E1D8D726E}" type="presOf" srcId="{036E05A6-C120-4561-B918-9672EC4DF212}" destId="{21C9F37F-8B6F-483F-9666-26A7EC84E17D}" srcOrd="1" destOrd="0" presId="urn:microsoft.com/office/officeart/2005/8/layout/pyramid1"/>
    <dgm:cxn modelId="{3987A6AB-F139-44EA-AE3B-43A3D91F8C90}" type="presOf" srcId="{358D9700-5E54-429B-99E5-321364A6C051}" destId="{6DD9AFD6-85A3-4176-A6EC-F797AA86814C}" srcOrd="0" destOrd="0" presId="urn:microsoft.com/office/officeart/2005/8/layout/pyramid1"/>
    <dgm:cxn modelId="{47CBF2D6-8606-4994-A190-1E3A0ADBB53A}" type="presOf" srcId="{036E05A6-C120-4561-B918-9672EC4DF212}" destId="{94C1C078-C725-4ABC-9144-4C7FEF361092}" srcOrd="0" destOrd="0" presId="urn:microsoft.com/office/officeart/2005/8/layout/pyramid1"/>
    <dgm:cxn modelId="{2B9ED6EC-3B5D-41AE-B1C7-F15293E1D968}" type="presOf" srcId="{116DCCD3-8980-4A14-A986-ADAA36F9D871}" destId="{36DE7232-AC3E-478D-A42B-D2D23C532C73}" srcOrd="0" destOrd="0" presId="urn:microsoft.com/office/officeart/2005/8/layout/pyramid1"/>
    <dgm:cxn modelId="{6B2E71EE-0818-4FD9-B55B-F7397C83565A}" srcId="{3AFA1F7A-CEDA-4B92-B41E-81A5AF4D1C16}" destId="{036E05A6-C120-4561-B918-9672EC4DF212}" srcOrd="0" destOrd="0" parTransId="{54050488-FB99-4DFD-921F-BC7A2E7205D9}" sibTransId="{588A779F-B8A7-4620-8231-F2FEFD5F297E}"/>
    <dgm:cxn modelId="{6E7FB6F6-6BEC-43A1-A508-159FF33CDFD3}" srcId="{3AFA1F7A-CEDA-4B92-B41E-81A5AF4D1C16}" destId="{358D9700-5E54-429B-99E5-321364A6C051}" srcOrd="2" destOrd="0" parTransId="{88377AD5-7DCE-4122-A9B4-179FF29D5107}" sibTransId="{BEC2A4D9-652D-4F8F-80A4-F617854C21CE}"/>
    <dgm:cxn modelId="{A216F5C2-E7BA-4951-A79A-57E8819B9438}" type="presParOf" srcId="{D73CE0FD-9835-4BB9-9041-24EE4118EC29}" destId="{9AE5CF01-E2AE-49A2-B42F-1DA5CE4D59D2}" srcOrd="0" destOrd="0" presId="urn:microsoft.com/office/officeart/2005/8/layout/pyramid1"/>
    <dgm:cxn modelId="{C1AD5A47-F3B9-4C34-B105-C184A43F101F}" type="presParOf" srcId="{9AE5CF01-E2AE-49A2-B42F-1DA5CE4D59D2}" destId="{94C1C078-C725-4ABC-9144-4C7FEF361092}" srcOrd="0" destOrd="0" presId="urn:microsoft.com/office/officeart/2005/8/layout/pyramid1"/>
    <dgm:cxn modelId="{E58AE939-1C75-4119-80F3-E1AE9A743AA6}" type="presParOf" srcId="{9AE5CF01-E2AE-49A2-B42F-1DA5CE4D59D2}" destId="{21C9F37F-8B6F-483F-9666-26A7EC84E17D}" srcOrd="1" destOrd="0" presId="urn:microsoft.com/office/officeart/2005/8/layout/pyramid1"/>
    <dgm:cxn modelId="{CBD52B21-B0D3-45E5-9ABC-9F8E06CF5150}" type="presParOf" srcId="{D73CE0FD-9835-4BB9-9041-24EE4118EC29}" destId="{BFBF09FB-A38A-44A4-B2F6-7CA0CD54E3F5}" srcOrd="1" destOrd="0" presId="urn:microsoft.com/office/officeart/2005/8/layout/pyramid1"/>
    <dgm:cxn modelId="{49B00BBB-0390-430F-AC40-09DE4C1CC233}" type="presParOf" srcId="{BFBF09FB-A38A-44A4-B2F6-7CA0CD54E3F5}" destId="{36DE7232-AC3E-478D-A42B-D2D23C532C73}" srcOrd="0" destOrd="0" presId="urn:microsoft.com/office/officeart/2005/8/layout/pyramid1"/>
    <dgm:cxn modelId="{4C3FBD46-A80F-46B5-A97E-EDE49BEBD39A}" type="presParOf" srcId="{BFBF09FB-A38A-44A4-B2F6-7CA0CD54E3F5}" destId="{35588734-8CD6-434A-A72E-4D71A8E05D51}" srcOrd="1" destOrd="0" presId="urn:microsoft.com/office/officeart/2005/8/layout/pyramid1"/>
    <dgm:cxn modelId="{60533701-B51B-4A71-A2C9-427FDF2600E2}" type="presParOf" srcId="{D73CE0FD-9835-4BB9-9041-24EE4118EC29}" destId="{08BA50B0-ECF5-4922-9294-B81E13407B21}" srcOrd="2" destOrd="0" presId="urn:microsoft.com/office/officeart/2005/8/layout/pyramid1"/>
    <dgm:cxn modelId="{D834A31E-C981-4D67-B97A-F9677972EC9F}" type="presParOf" srcId="{08BA50B0-ECF5-4922-9294-B81E13407B21}" destId="{6DD9AFD6-85A3-4176-A6EC-F797AA86814C}" srcOrd="0" destOrd="0" presId="urn:microsoft.com/office/officeart/2005/8/layout/pyramid1"/>
    <dgm:cxn modelId="{9D5E9DD1-86E3-4687-9187-356BC7632C19}" type="presParOf" srcId="{08BA50B0-ECF5-4922-9294-B81E13407B21}" destId="{EFCDD072-ED36-4EB6-AE37-82B0A30DEB5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AFA1F7A-CEDA-4B92-B41E-81A5AF4D1C16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036E05A6-C120-4561-B918-9672EC4DF212}">
      <dgm:prSet phldrT="[Text]" phldr="1" custT="1"/>
      <dgm:spPr>
        <a:solidFill>
          <a:schemeClr val="accent6">
            <a:lumMod val="10000"/>
            <a:lumOff val="90000"/>
          </a:schemeClr>
        </a:solidFill>
      </dgm:spPr>
      <dgm:t>
        <a:bodyPr/>
        <a:lstStyle/>
        <a:p>
          <a:endParaRPr lang="en-IN" sz="1600" b="1"/>
        </a:p>
      </dgm:t>
    </dgm:pt>
    <dgm:pt modelId="{54050488-FB99-4DFD-921F-BC7A2E7205D9}" type="parTrans" cxnId="{6B2E71EE-0818-4FD9-B55B-F7397C83565A}">
      <dgm:prSet/>
      <dgm:spPr/>
      <dgm:t>
        <a:bodyPr/>
        <a:lstStyle/>
        <a:p>
          <a:endParaRPr lang="en-IN" sz="1800"/>
        </a:p>
      </dgm:t>
    </dgm:pt>
    <dgm:pt modelId="{588A779F-B8A7-4620-8231-F2FEFD5F297E}" type="sibTrans" cxnId="{6B2E71EE-0818-4FD9-B55B-F7397C83565A}">
      <dgm:prSet/>
      <dgm:spPr/>
      <dgm:t>
        <a:bodyPr/>
        <a:lstStyle/>
        <a:p>
          <a:endParaRPr lang="en-IN" sz="1800"/>
        </a:p>
      </dgm:t>
    </dgm:pt>
    <dgm:pt modelId="{116DCCD3-8980-4A14-A986-ADAA36F9D871}">
      <dgm:prSet phldrT="[Text]" phldr="1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IN" sz="1600" b="1"/>
        </a:p>
      </dgm:t>
    </dgm:pt>
    <dgm:pt modelId="{AC94EE97-4359-40A7-B929-13EB1E99C262}" type="parTrans" cxnId="{E4162A3A-810D-4193-9BD8-D008759540C1}">
      <dgm:prSet/>
      <dgm:spPr/>
      <dgm:t>
        <a:bodyPr/>
        <a:lstStyle/>
        <a:p>
          <a:endParaRPr lang="en-IN" sz="1800"/>
        </a:p>
      </dgm:t>
    </dgm:pt>
    <dgm:pt modelId="{C2272F06-EF5D-4C38-8E71-4268BFEF288A}" type="sibTrans" cxnId="{E4162A3A-810D-4193-9BD8-D008759540C1}">
      <dgm:prSet/>
      <dgm:spPr/>
      <dgm:t>
        <a:bodyPr/>
        <a:lstStyle/>
        <a:p>
          <a:endParaRPr lang="en-IN" sz="1800"/>
        </a:p>
      </dgm:t>
    </dgm:pt>
    <dgm:pt modelId="{358D9700-5E54-429B-99E5-321364A6C051}">
      <dgm:prSet phldrT="[Text]" phldr="1" custT="1"/>
      <dgm:spPr>
        <a:solidFill>
          <a:schemeClr val="tx2">
            <a:lumMod val="50000"/>
          </a:schemeClr>
        </a:solidFill>
      </dgm:spPr>
      <dgm:t>
        <a:bodyPr/>
        <a:lstStyle/>
        <a:p>
          <a:endParaRPr lang="en-IN" sz="1600" b="1"/>
        </a:p>
      </dgm:t>
    </dgm:pt>
    <dgm:pt modelId="{88377AD5-7DCE-4122-A9B4-179FF29D5107}" type="parTrans" cxnId="{6E7FB6F6-6BEC-43A1-A508-159FF33CDFD3}">
      <dgm:prSet/>
      <dgm:spPr/>
      <dgm:t>
        <a:bodyPr/>
        <a:lstStyle/>
        <a:p>
          <a:endParaRPr lang="en-IN" sz="1800"/>
        </a:p>
      </dgm:t>
    </dgm:pt>
    <dgm:pt modelId="{BEC2A4D9-652D-4F8F-80A4-F617854C21CE}" type="sibTrans" cxnId="{6E7FB6F6-6BEC-43A1-A508-159FF33CDFD3}">
      <dgm:prSet/>
      <dgm:spPr/>
      <dgm:t>
        <a:bodyPr/>
        <a:lstStyle/>
        <a:p>
          <a:endParaRPr lang="en-IN" sz="1800"/>
        </a:p>
      </dgm:t>
    </dgm:pt>
    <dgm:pt modelId="{D73CE0FD-9835-4BB9-9041-24EE4118EC29}" type="pres">
      <dgm:prSet presAssocID="{3AFA1F7A-CEDA-4B92-B41E-81A5AF4D1C16}" presName="Name0" presStyleCnt="0">
        <dgm:presLayoutVars>
          <dgm:dir/>
          <dgm:animLvl val="lvl"/>
          <dgm:resizeHandles val="exact"/>
        </dgm:presLayoutVars>
      </dgm:prSet>
      <dgm:spPr/>
    </dgm:pt>
    <dgm:pt modelId="{9AE5CF01-E2AE-49A2-B42F-1DA5CE4D59D2}" type="pres">
      <dgm:prSet presAssocID="{036E05A6-C120-4561-B918-9672EC4DF212}" presName="Name8" presStyleCnt="0"/>
      <dgm:spPr/>
    </dgm:pt>
    <dgm:pt modelId="{94C1C078-C725-4ABC-9144-4C7FEF361092}" type="pres">
      <dgm:prSet presAssocID="{036E05A6-C120-4561-B918-9672EC4DF212}" presName="level" presStyleLbl="node1" presStyleIdx="0" presStyleCnt="3">
        <dgm:presLayoutVars>
          <dgm:chMax val="1"/>
          <dgm:bulletEnabled val="1"/>
        </dgm:presLayoutVars>
      </dgm:prSet>
      <dgm:spPr/>
    </dgm:pt>
    <dgm:pt modelId="{21C9F37F-8B6F-483F-9666-26A7EC84E17D}" type="pres">
      <dgm:prSet presAssocID="{036E05A6-C120-4561-B918-9672EC4DF21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FBF09FB-A38A-44A4-B2F6-7CA0CD54E3F5}" type="pres">
      <dgm:prSet presAssocID="{116DCCD3-8980-4A14-A986-ADAA36F9D871}" presName="Name8" presStyleCnt="0"/>
      <dgm:spPr/>
    </dgm:pt>
    <dgm:pt modelId="{36DE7232-AC3E-478D-A42B-D2D23C532C73}" type="pres">
      <dgm:prSet presAssocID="{116DCCD3-8980-4A14-A986-ADAA36F9D871}" presName="level" presStyleLbl="node1" presStyleIdx="1" presStyleCnt="3">
        <dgm:presLayoutVars>
          <dgm:chMax val="1"/>
          <dgm:bulletEnabled val="1"/>
        </dgm:presLayoutVars>
      </dgm:prSet>
      <dgm:spPr/>
    </dgm:pt>
    <dgm:pt modelId="{35588734-8CD6-434A-A72E-4D71A8E05D51}" type="pres">
      <dgm:prSet presAssocID="{116DCCD3-8980-4A14-A986-ADAA36F9D871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8BA50B0-ECF5-4922-9294-B81E13407B21}" type="pres">
      <dgm:prSet presAssocID="{358D9700-5E54-429B-99E5-321364A6C051}" presName="Name8" presStyleCnt="0"/>
      <dgm:spPr/>
    </dgm:pt>
    <dgm:pt modelId="{6DD9AFD6-85A3-4176-A6EC-F797AA86814C}" type="pres">
      <dgm:prSet presAssocID="{358D9700-5E54-429B-99E5-321364A6C051}" presName="level" presStyleLbl="node1" presStyleIdx="2" presStyleCnt="3">
        <dgm:presLayoutVars>
          <dgm:chMax val="1"/>
          <dgm:bulletEnabled val="1"/>
        </dgm:presLayoutVars>
      </dgm:prSet>
      <dgm:spPr/>
    </dgm:pt>
    <dgm:pt modelId="{EFCDD072-ED36-4EB6-AE37-82B0A30DEB5B}" type="pres">
      <dgm:prSet presAssocID="{358D9700-5E54-429B-99E5-321364A6C051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16978030-E55B-42AD-91EC-549B45208D68}" type="presOf" srcId="{116DCCD3-8980-4A14-A986-ADAA36F9D871}" destId="{35588734-8CD6-434A-A72E-4D71A8E05D51}" srcOrd="1" destOrd="0" presId="urn:microsoft.com/office/officeart/2005/8/layout/pyramid1"/>
    <dgm:cxn modelId="{E4162A3A-810D-4193-9BD8-D008759540C1}" srcId="{3AFA1F7A-CEDA-4B92-B41E-81A5AF4D1C16}" destId="{116DCCD3-8980-4A14-A986-ADAA36F9D871}" srcOrd="1" destOrd="0" parTransId="{AC94EE97-4359-40A7-B929-13EB1E99C262}" sibTransId="{C2272F06-EF5D-4C38-8E71-4268BFEF288A}"/>
    <dgm:cxn modelId="{90D35F71-2FC4-4439-B4A5-C2A757B2931A}" type="presOf" srcId="{3AFA1F7A-CEDA-4B92-B41E-81A5AF4D1C16}" destId="{D73CE0FD-9835-4BB9-9041-24EE4118EC29}" srcOrd="0" destOrd="0" presId="urn:microsoft.com/office/officeart/2005/8/layout/pyramid1"/>
    <dgm:cxn modelId="{7726C078-338A-413E-AAC3-664900403616}" type="presOf" srcId="{358D9700-5E54-429B-99E5-321364A6C051}" destId="{EFCDD072-ED36-4EB6-AE37-82B0A30DEB5B}" srcOrd="1" destOrd="0" presId="urn:microsoft.com/office/officeart/2005/8/layout/pyramid1"/>
    <dgm:cxn modelId="{1E5DB792-1991-4D6F-AB10-994E1D8D726E}" type="presOf" srcId="{036E05A6-C120-4561-B918-9672EC4DF212}" destId="{21C9F37F-8B6F-483F-9666-26A7EC84E17D}" srcOrd="1" destOrd="0" presId="urn:microsoft.com/office/officeart/2005/8/layout/pyramid1"/>
    <dgm:cxn modelId="{3987A6AB-F139-44EA-AE3B-43A3D91F8C90}" type="presOf" srcId="{358D9700-5E54-429B-99E5-321364A6C051}" destId="{6DD9AFD6-85A3-4176-A6EC-F797AA86814C}" srcOrd="0" destOrd="0" presId="urn:microsoft.com/office/officeart/2005/8/layout/pyramid1"/>
    <dgm:cxn modelId="{47CBF2D6-8606-4994-A190-1E3A0ADBB53A}" type="presOf" srcId="{036E05A6-C120-4561-B918-9672EC4DF212}" destId="{94C1C078-C725-4ABC-9144-4C7FEF361092}" srcOrd="0" destOrd="0" presId="urn:microsoft.com/office/officeart/2005/8/layout/pyramid1"/>
    <dgm:cxn modelId="{2B9ED6EC-3B5D-41AE-B1C7-F15293E1D968}" type="presOf" srcId="{116DCCD3-8980-4A14-A986-ADAA36F9D871}" destId="{36DE7232-AC3E-478D-A42B-D2D23C532C73}" srcOrd="0" destOrd="0" presId="urn:microsoft.com/office/officeart/2005/8/layout/pyramid1"/>
    <dgm:cxn modelId="{6B2E71EE-0818-4FD9-B55B-F7397C83565A}" srcId="{3AFA1F7A-CEDA-4B92-B41E-81A5AF4D1C16}" destId="{036E05A6-C120-4561-B918-9672EC4DF212}" srcOrd="0" destOrd="0" parTransId="{54050488-FB99-4DFD-921F-BC7A2E7205D9}" sibTransId="{588A779F-B8A7-4620-8231-F2FEFD5F297E}"/>
    <dgm:cxn modelId="{6E7FB6F6-6BEC-43A1-A508-159FF33CDFD3}" srcId="{3AFA1F7A-CEDA-4B92-B41E-81A5AF4D1C16}" destId="{358D9700-5E54-429B-99E5-321364A6C051}" srcOrd="2" destOrd="0" parTransId="{88377AD5-7DCE-4122-A9B4-179FF29D5107}" sibTransId="{BEC2A4D9-652D-4F8F-80A4-F617854C21CE}"/>
    <dgm:cxn modelId="{A216F5C2-E7BA-4951-A79A-57E8819B9438}" type="presParOf" srcId="{D73CE0FD-9835-4BB9-9041-24EE4118EC29}" destId="{9AE5CF01-E2AE-49A2-B42F-1DA5CE4D59D2}" srcOrd="0" destOrd="0" presId="urn:microsoft.com/office/officeart/2005/8/layout/pyramid1"/>
    <dgm:cxn modelId="{C1AD5A47-F3B9-4C34-B105-C184A43F101F}" type="presParOf" srcId="{9AE5CF01-E2AE-49A2-B42F-1DA5CE4D59D2}" destId="{94C1C078-C725-4ABC-9144-4C7FEF361092}" srcOrd="0" destOrd="0" presId="urn:microsoft.com/office/officeart/2005/8/layout/pyramid1"/>
    <dgm:cxn modelId="{E58AE939-1C75-4119-80F3-E1AE9A743AA6}" type="presParOf" srcId="{9AE5CF01-E2AE-49A2-B42F-1DA5CE4D59D2}" destId="{21C9F37F-8B6F-483F-9666-26A7EC84E17D}" srcOrd="1" destOrd="0" presId="urn:microsoft.com/office/officeart/2005/8/layout/pyramid1"/>
    <dgm:cxn modelId="{CBD52B21-B0D3-45E5-9ABC-9F8E06CF5150}" type="presParOf" srcId="{D73CE0FD-9835-4BB9-9041-24EE4118EC29}" destId="{BFBF09FB-A38A-44A4-B2F6-7CA0CD54E3F5}" srcOrd="1" destOrd="0" presId="urn:microsoft.com/office/officeart/2005/8/layout/pyramid1"/>
    <dgm:cxn modelId="{49B00BBB-0390-430F-AC40-09DE4C1CC233}" type="presParOf" srcId="{BFBF09FB-A38A-44A4-B2F6-7CA0CD54E3F5}" destId="{36DE7232-AC3E-478D-A42B-D2D23C532C73}" srcOrd="0" destOrd="0" presId="urn:microsoft.com/office/officeart/2005/8/layout/pyramid1"/>
    <dgm:cxn modelId="{4C3FBD46-A80F-46B5-A97E-EDE49BEBD39A}" type="presParOf" srcId="{BFBF09FB-A38A-44A4-B2F6-7CA0CD54E3F5}" destId="{35588734-8CD6-434A-A72E-4D71A8E05D51}" srcOrd="1" destOrd="0" presId="urn:microsoft.com/office/officeart/2005/8/layout/pyramid1"/>
    <dgm:cxn modelId="{60533701-B51B-4A71-A2C9-427FDF2600E2}" type="presParOf" srcId="{D73CE0FD-9835-4BB9-9041-24EE4118EC29}" destId="{08BA50B0-ECF5-4922-9294-B81E13407B21}" srcOrd="2" destOrd="0" presId="urn:microsoft.com/office/officeart/2005/8/layout/pyramid1"/>
    <dgm:cxn modelId="{D834A31E-C981-4D67-B97A-F9677972EC9F}" type="presParOf" srcId="{08BA50B0-ECF5-4922-9294-B81E13407B21}" destId="{6DD9AFD6-85A3-4176-A6EC-F797AA86814C}" srcOrd="0" destOrd="0" presId="urn:microsoft.com/office/officeart/2005/8/layout/pyramid1"/>
    <dgm:cxn modelId="{9D5E9DD1-86E3-4687-9187-356BC7632C19}" type="presParOf" srcId="{08BA50B0-ECF5-4922-9294-B81E13407B21}" destId="{EFCDD072-ED36-4EB6-AE37-82B0A30DEB5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AFA1F7A-CEDA-4B92-B41E-81A5AF4D1C16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036E05A6-C120-4561-B918-9672EC4DF212}">
      <dgm:prSet phldrT="[Text]" phldr="1" custT="1"/>
      <dgm:spPr>
        <a:solidFill>
          <a:schemeClr val="accent6">
            <a:lumMod val="10000"/>
            <a:lumOff val="90000"/>
          </a:schemeClr>
        </a:solidFill>
      </dgm:spPr>
      <dgm:t>
        <a:bodyPr/>
        <a:lstStyle/>
        <a:p>
          <a:endParaRPr lang="en-IN" sz="1600" b="1"/>
        </a:p>
      </dgm:t>
    </dgm:pt>
    <dgm:pt modelId="{54050488-FB99-4DFD-921F-BC7A2E7205D9}" type="parTrans" cxnId="{6B2E71EE-0818-4FD9-B55B-F7397C83565A}">
      <dgm:prSet/>
      <dgm:spPr/>
      <dgm:t>
        <a:bodyPr/>
        <a:lstStyle/>
        <a:p>
          <a:endParaRPr lang="en-IN" sz="1800"/>
        </a:p>
      </dgm:t>
    </dgm:pt>
    <dgm:pt modelId="{588A779F-B8A7-4620-8231-F2FEFD5F297E}" type="sibTrans" cxnId="{6B2E71EE-0818-4FD9-B55B-F7397C83565A}">
      <dgm:prSet/>
      <dgm:spPr/>
      <dgm:t>
        <a:bodyPr/>
        <a:lstStyle/>
        <a:p>
          <a:endParaRPr lang="en-IN" sz="1800"/>
        </a:p>
      </dgm:t>
    </dgm:pt>
    <dgm:pt modelId="{116DCCD3-8980-4A14-A986-ADAA36F9D871}">
      <dgm:prSet phldrT="[Text]" phldr="1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IN" sz="1600" b="1"/>
        </a:p>
      </dgm:t>
    </dgm:pt>
    <dgm:pt modelId="{AC94EE97-4359-40A7-B929-13EB1E99C262}" type="parTrans" cxnId="{E4162A3A-810D-4193-9BD8-D008759540C1}">
      <dgm:prSet/>
      <dgm:spPr/>
      <dgm:t>
        <a:bodyPr/>
        <a:lstStyle/>
        <a:p>
          <a:endParaRPr lang="en-IN" sz="1800"/>
        </a:p>
      </dgm:t>
    </dgm:pt>
    <dgm:pt modelId="{C2272F06-EF5D-4C38-8E71-4268BFEF288A}" type="sibTrans" cxnId="{E4162A3A-810D-4193-9BD8-D008759540C1}">
      <dgm:prSet/>
      <dgm:spPr/>
      <dgm:t>
        <a:bodyPr/>
        <a:lstStyle/>
        <a:p>
          <a:endParaRPr lang="en-IN" sz="1800"/>
        </a:p>
      </dgm:t>
    </dgm:pt>
    <dgm:pt modelId="{358D9700-5E54-429B-99E5-321364A6C051}">
      <dgm:prSet phldrT="[Text]" phldr="1" custT="1"/>
      <dgm:spPr>
        <a:solidFill>
          <a:schemeClr val="tx2">
            <a:lumMod val="50000"/>
          </a:schemeClr>
        </a:solidFill>
      </dgm:spPr>
      <dgm:t>
        <a:bodyPr/>
        <a:lstStyle/>
        <a:p>
          <a:endParaRPr lang="en-IN" sz="1600" b="1"/>
        </a:p>
      </dgm:t>
    </dgm:pt>
    <dgm:pt modelId="{88377AD5-7DCE-4122-A9B4-179FF29D5107}" type="parTrans" cxnId="{6E7FB6F6-6BEC-43A1-A508-159FF33CDFD3}">
      <dgm:prSet/>
      <dgm:spPr/>
      <dgm:t>
        <a:bodyPr/>
        <a:lstStyle/>
        <a:p>
          <a:endParaRPr lang="en-IN" sz="1800"/>
        </a:p>
      </dgm:t>
    </dgm:pt>
    <dgm:pt modelId="{BEC2A4D9-652D-4F8F-80A4-F617854C21CE}" type="sibTrans" cxnId="{6E7FB6F6-6BEC-43A1-A508-159FF33CDFD3}">
      <dgm:prSet/>
      <dgm:spPr/>
      <dgm:t>
        <a:bodyPr/>
        <a:lstStyle/>
        <a:p>
          <a:endParaRPr lang="en-IN" sz="1800"/>
        </a:p>
      </dgm:t>
    </dgm:pt>
    <dgm:pt modelId="{D73CE0FD-9835-4BB9-9041-24EE4118EC29}" type="pres">
      <dgm:prSet presAssocID="{3AFA1F7A-CEDA-4B92-B41E-81A5AF4D1C16}" presName="Name0" presStyleCnt="0">
        <dgm:presLayoutVars>
          <dgm:dir/>
          <dgm:animLvl val="lvl"/>
          <dgm:resizeHandles val="exact"/>
        </dgm:presLayoutVars>
      </dgm:prSet>
      <dgm:spPr/>
    </dgm:pt>
    <dgm:pt modelId="{9AE5CF01-E2AE-49A2-B42F-1DA5CE4D59D2}" type="pres">
      <dgm:prSet presAssocID="{036E05A6-C120-4561-B918-9672EC4DF212}" presName="Name8" presStyleCnt="0"/>
      <dgm:spPr/>
    </dgm:pt>
    <dgm:pt modelId="{94C1C078-C725-4ABC-9144-4C7FEF361092}" type="pres">
      <dgm:prSet presAssocID="{036E05A6-C120-4561-B918-9672EC4DF212}" presName="level" presStyleLbl="node1" presStyleIdx="0" presStyleCnt="3">
        <dgm:presLayoutVars>
          <dgm:chMax val="1"/>
          <dgm:bulletEnabled val="1"/>
        </dgm:presLayoutVars>
      </dgm:prSet>
      <dgm:spPr/>
    </dgm:pt>
    <dgm:pt modelId="{21C9F37F-8B6F-483F-9666-26A7EC84E17D}" type="pres">
      <dgm:prSet presAssocID="{036E05A6-C120-4561-B918-9672EC4DF21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FBF09FB-A38A-44A4-B2F6-7CA0CD54E3F5}" type="pres">
      <dgm:prSet presAssocID="{116DCCD3-8980-4A14-A986-ADAA36F9D871}" presName="Name8" presStyleCnt="0"/>
      <dgm:spPr/>
    </dgm:pt>
    <dgm:pt modelId="{36DE7232-AC3E-478D-A42B-D2D23C532C73}" type="pres">
      <dgm:prSet presAssocID="{116DCCD3-8980-4A14-A986-ADAA36F9D871}" presName="level" presStyleLbl="node1" presStyleIdx="1" presStyleCnt="3">
        <dgm:presLayoutVars>
          <dgm:chMax val="1"/>
          <dgm:bulletEnabled val="1"/>
        </dgm:presLayoutVars>
      </dgm:prSet>
      <dgm:spPr/>
    </dgm:pt>
    <dgm:pt modelId="{35588734-8CD6-434A-A72E-4D71A8E05D51}" type="pres">
      <dgm:prSet presAssocID="{116DCCD3-8980-4A14-A986-ADAA36F9D871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8BA50B0-ECF5-4922-9294-B81E13407B21}" type="pres">
      <dgm:prSet presAssocID="{358D9700-5E54-429B-99E5-321364A6C051}" presName="Name8" presStyleCnt="0"/>
      <dgm:spPr/>
    </dgm:pt>
    <dgm:pt modelId="{6DD9AFD6-85A3-4176-A6EC-F797AA86814C}" type="pres">
      <dgm:prSet presAssocID="{358D9700-5E54-429B-99E5-321364A6C051}" presName="level" presStyleLbl="node1" presStyleIdx="2" presStyleCnt="3">
        <dgm:presLayoutVars>
          <dgm:chMax val="1"/>
          <dgm:bulletEnabled val="1"/>
        </dgm:presLayoutVars>
      </dgm:prSet>
      <dgm:spPr/>
    </dgm:pt>
    <dgm:pt modelId="{EFCDD072-ED36-4EB6-AE37-82B0A30DEB5B}" type="pres">
      <dgm:prSet presAssocID="{358D9700-5E54-429B-99E5-321364A6C051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F9D19829-B212-46C4-80F2-BFCDFCA1FBCA}" type="presOf" srcId="{358D9700-5E54-429B-99E5-321364A6C051}" destId="{6DD9AFD6-85A3-4176-A6EC-F797AA86814C}" srcOrd="0" destOrd="0" presId="urn:microsoft.com/office/officeart/2005/8/layout/pyramid1"/>
    <dgm:cxn modelId="{E4162A3A-810D-4193-9BD8-D008759540C1}" srcId="{3AFA1F7A-CEDA-4B92-B41E-81A5AF4D1C16}" destId="{116DCCD3-8980-4A14-A986-ADAA36F9D871}" srcOrd="1" destOrd="0" parTransId="{AC94EE97-4359-40A7-B929-13EB1E99C262}" sibTransId="{C2272F06-EF5D-4C38-8E71-4268BFEF288A}"/>
    <dgm:cxn modelId="{D4DE0A67-A1E1-4DA1-9881-A342D4FE76A3}" type="presOf" srcId="{036E05A6-C120-4561-B918-9672EC4DF212}" destId="{94C1C078-C725-4ABC-9144-4C7FEF361092}" srcOrd="0" destOrd="0" presId="urn:microsoft.com/office/officeart/2005/8/layout/pyramid1"/>
    <dgm:cxn modelId="{237BF886-B8BB-4048-8333-1438D16264C1}" type="presOf" srcId="{358D9700-5E54-429B-99E5-321364A6C051}" destId="{EFCDD072-ED36-4EB6-AE37-82B0A30DEB5B}" srcOrd="1" destOrd="0" presId="urn:microsoft.com/office/officeart/2005/8/layout/pyramid1"/>
    <dgm:cxn modelId="{D549EEA7-8ED9-4519-A761-2D68B718D631}" type="presOf" srcId="{3AFA1F7A-CEDA-4B92-B41E-81A5AF4D1C16}" destId="{D73CE0FD-9835-4BB9-9041-24EE4118EC29}" srcOrd="0" destOrd="0" presId="urn:microsoft.com/office/officeart/2005/8/layout/pyramid1"/>
    <dgm:cxn modelId="{79B104C5-B4DE-48FB-B85B-7BD44EFE45BE}" type="presOf" srcId="{036E05A6-C120-4561-B918-9672EC4DF212}" destId="{21C9F37F-8B6F-483F-9666-26A7EC84E17D}" srcOrd="1" destOrd="0" presId="urn:microsoft.com/office/officeart/2005/8/layout/pyramid1"/>
    <dgm:cxn modelId="{72D025CC-227D-4E83-8332-E4073A92951E}" type="presOf" srcId="{116DCCD3-8980-4A14-A986-ADAA36F9D871}" destId="{35588734-8CD6-434A-A72E-4D71A8E05D51}" srcOrd="1" destOrd="0" presId="urn:microsoft.com/office/officeart/2005/8/layout/pyramid1"/>
    <dgm:cxn modelId="{6B2E71EE-0818-4FD9-B55B-F7397C83565A}" srcId="{3AFA1F7A-CEDA-4B92-B41E-81A5AF4D1C16}" destId="{036E05A6-C120-4561-B918-9672EC4DF212}" srcOrd="0" destOrd="0" parTransId="{54050488-FB99-4DFD-921F-BC7A2E7205D9}" sibTransId="{588A779F-B8A7-4620-8231-F2FEFD5F297E}"/>
    <dgm:cxn modelId="{04982DF5-27DE-433F-8C6F-0C03E3F594B4}" type="presOf" srcId="{116DCCD3-8980-4A14-A986-ADAA36F9D871}" destId="{36DE7232-AC3E-478D-A42B-D2D23C532C73}" srcOrd="0" destOrd="0" presId="urn:microsoft.com/office/officeart/2005/8/layout/pyramid1"/>
    <dgm:cxn modelId="{6E7FB6F6-6BEC-43A1-A508-159FF33CDFD3}" srcId="{3AFA1F7A-CEDA-4B92-B41E-81A5AF4D1C16}" destId="{358D9700-5E54-429B-99E5-321364A6C051}" srcOrd="2" destOrd="0" parTransId="{88377AD5-7DCE-4122-A9B4-179FF29D5107}" sibTransId="{BEC2A4D9-652D-4F8F-80A4-F617854C21CE}"/>
    <dgm:cxn modelId="{3337B6E4-4583-495E-98A4-4FA01820F723}" type="presParOf" srcId="{D73CE0FD-9835-4BB9-9041-24EE4118EC29}" destId="{9AE5CF01-E2AE-49A2-B42F-1DA5CE4D59D2}" srcOrd="0" destOrd="0" presId="urn:microsoft.com/office/officeart/2005/8/layout/pyramid1"/>
    <dgm:cxn modelId="{FB6C8373-4B16-4270-BB91-C9C914AA646B}" type="presParOf" srcId="{9AE5CF01-E2AE-49A2-B42F-1DA5CE4D59D2}" destId="{94C1C078-C725-4ABC-9144-4C7FEF361092}" srcOrd="0" destOrd="0" presId="urn:microsoft.com/office/officeart/2005/8/layout/pyramid1"/>
    <dgm:cxn modelId="{C50DD622-E9C6-477A-BD65-B20D193EB16B}" type="presParOf" srcId="{9AE5CF01-E2AE-49A2-B42F-1DA5CE4D59D2}" destId="{21C9F37F-8B6F-483F-9666-26A7EC84E17D}" srcOrd="1" destOrd="0" presId="urn:microsoft.com/office/officeart/2005/8/layout/pyramid1"/>
    <dgm:cxn modelId="{C11C27AE-034D-4DB3-AFB2-BE88D64169F2}" type="presParOf" srcId="{D73CE0FD-9835-4BB9-9041-24EE4118EC29}" destId="{BFBF09FB-A38A-44A4-B2F6-7CA0CD54E3F5}" srcOrd="1" destOrd="0" presId="urn:microsoft.com/office/officeart/2005/8/layout/pyramid1"/>
    <dgm:cxn modelId="{30590FB0-48E5-4127-A481-9BF546DC27E5}" type="presParOf" srcId="{BFBF09FB-A38A-44A4-B2F6-7CA0CD54E3F5}" destId="{36DE7232-AC3E-478D-A42B-D2D23C532C73}" srcOrd="0" destOrd="0" presId="urn:microsoft.com/office/officeart/2005/8/layout/pyramid1"/>
    <dgm:cxn modelId="{1764ED6B-81D7-487D-982D-0C69FAD3FD1A}" type="presParOf" srcId="{BFBF09FB-A38A-44A4-B2F6-7CA0CD54E3F5}" destId="{35588734-8CD6-434A-A72E-4D71A8E05D51}" srcOrd="1" destOrd="0" presId="urn:microsoft.com/office/officeart/2005/8/layout/pyramid1"/>
    <dgm:cxn modelId="{B4923F04-D28E-48D2-A4EB-9F3F9C16080D}" type="presParOf" srcId="{D73CE0FD-9835-4BB9-9041-24EE4118EC29}" destId="{08BA50B0-ECF5-4922-9294-B81E13407B21}" srcOrd="2" destOrd="0" presId="urn:microsoft.com/office/officeart/2005/8/layout/pyramid1"/>
    <dgm:cxn modelId="{B7AB69AF-AA18-4277-A1BF-846547EE0986}" type="presParOf" srcId="{08BA50B0-ECF5-4922-9294-B81E13407B21}" destId="{6DD9AFD6-85A3-4176-A6EC-F797AA86814C}" srcOrd="0" destOrd="0" presId="urn:microsoft.com/office/officeart/2005/8/layout/pyramid1"/>
    <dgm:cxn modelId="{E8326ED9-28D5-4CFB-94D6-C5D011C4CE7F}" type="presParOf" srcId="{08BA50B0-ECF5-4922-9294-B81E13407B21}" destId="{EFCDD072-ED36-4EB6-AE37-82B0A30DEB5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AFA1F7A-CEDA-4B92-B41E-81A5AF4D1C16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036E05A6-C120-4561-B918-9672EC4DF212}">
      <dgm:prSet phldrT="[Text]" phldr="1" custT="1"/>
      <dgm:spPr>
        <a:solidFill>
          <a:schemeClr val="accent6">
            <a:lumMod val="10000"/>
            <a:lumOff val="90000"/>
          </a:schemeClr>
        </a:solidFill>
      </dgm:spPr>
      <dgm:t>
        <a:bodyPr/>
        <a:lstStyle/>
        <a:p>
          <a:endParaRPr lang="en-IN" sz="1600" b="1"/>
        </a:p>
      </dgm:t>
    </dgm:pt>
    <dgm:pt modelId="{54050488-FB99-4DFD-921F-BC7A2E7205D9}" type="parTrans" cxnId="{6B2E71EE-0818-4FD9-B55B-F7397C83565A}">
      <dgm:prSet/>
      <dgm:spPr/>
      <dgm:t>
        <a:bodyPr/>
        <a:lstStyle/>
        <a:p>
          <a:endParaRPr lang="en-IN" sz="1800"/>
        </a:p>
      </dgm:t>
    </dgm:pt>
    <dgm:pt modelId="{588A779F-B8A7-4620-8231-F2FEFD5F297E}" type="sibTrans" cxnId="{6B2E71EE-0818-4FD9-B55B-F7397C83565A}">
      <dgm:prSet/>
      <dgm:spPr/>
      <dgm:t>
        <a:bodyPr/>
        <a:lstStyle/>
        <a:p>
          <a:endParaRPr lang="en-IN" sz="1800"/>
        </a:p>
      </dgm:t>
    </dgm:pt>
    <dgm:pt modelId="{116DCCD3-8980-4A14-A986-ADAA36F9D871}">
      <dgm:prSet phldrT="[Text]" phldr="1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IN" sz="1600" b="1"/>
        </a:p>
      </dgm:t>
    </dgm:pt>
    <dgm:pt modelId="{AC94EE97-4359-40A7-B929-13EB1E99C262}" type="parTrans" cxnId="{E4162A3A-810D-4193-9BD8-D008759540C1}">
      <dgm:prSet/>
      <dgm:spPr/>
      <dgm:t>
        <a:bodyPr/>
        <a:lstStyle/>
        <a:p>
          <a:endParaRPr lang="en-IN" sz="1800"/>
        </a:p>
      </dgm:t>
    </dgm:pt>
    <dgm:pt modelId="{C2272F06-EF5D-4C38-8E71-4268BFEF288A}" type="sibTrans" cxnId="{E4162A3A-810D-4193-9BD8-D008759540C1}">
      <dgm:prSet/>
      <dgm:spPr/>
      <dgm:t>
        <a:bodyPr/>
        <a:lstStyle/>
        <a:p>
          <a:endParaRPr lang="en-IN" sz="1800"/>
        </a:p>
      </dgm:t>
    </dgm:pt>
    <dgm:pt modelId="{358D9700-5E54-429B-99E5-321364A6C051}">
      <dgm:prSet phldrT="[Text]" phldr="1" custT="1"/>
      <dgm:spPr>
        <a:solidFill>
          <a:schemeClr val="tx2">
            <a:lumMod val="50000"/>
          </a:schemeClr>
        </a:solidFill>
      </dgm:spPr>
      <dgm:t>
        <a:bodyPr/>
        <a:lstStyle/>
        <a:p>
          <a:endParaRPr lang="en-IN" sz="1600" b="1"/>
        </a:p>
      </dgm:t>
    </dgm:pt>
    <dgm:pt modelId="{88377AD5-7DCE-4122-A9B4-179FF29D5107}" type="parTrans" cxnId="{6E7FB6F6-6BEC-43A1-A508-159FF33CDFD3}">
      <dgm:prSet/>
      <dgm:spPr/>
      <dgm:t>
        <a:bodyPr/>
        <a:lstStyle/>
        <a:p>
          <a:endParaRPr lang="en-IN" sz="1800"/>
        </a:p>
      </dgm:t>
    </dgm:pt>
    <dgm:pt modelId="{BEC2A4D9-652D-4F8F-80A4-F617854C21CE}" type="sibTrans" cxnId="{6E7FB6F6-6BEC-43A1-A508-159FF33CDFD3}">
      <dgm:prSet/>
      <dgm:spPr/>
      <dgm:t>
        <a:bodyPr/>
        <a:lstStyle/>
        <a:p>
          <a:endParaRPr lang="en-IN" sz="1800"/>
        </a:p>
      </dgm:t>
    </dgm:pt>
    <dgm:pt modelId="{D73CE0FD-9835-4BB9-9041-24EE4118EC29}" type="pres">
      <dgm:prSet presAssocID="{3AFA1F7A-CEDA-4B92-B41E-81A5AF4D1C16}" presName="Name0" presStyleCnt="0">
        <dgm:presLayoutVars>
          <dgm:dir/>
          <dgm:animLvl val="lvl"/>
          <dgm:resizeHandles val="exact"/>
        </dgm:presLayoutVars>
      </dgm:prSet>
      <dgm:spPr/>
    </dgm:pt>
    <dgm:pt modelId="{9AE5CF01-E2AE-49A2-B42F-1DA5CE4D59D2}" type="pres">
      <dgm:prSet presAssocID="{036E05A6-C120-4561-B918-9672EC4DF212}" presName="Name8" presStyleCnt="0"/>
      <dgm:spPr/>
    </dgm:pt>
    <dgm:pt modelId="{94C1C078-C725-4ABC-9144-4C7FEF361092}" type="pres">
      <dgm:prSet presAssocID="{036E05A6-C120-4561-B918-9672EC4DF212}" presName="level" presStyleLbl="node1" presStyleIdx="0" presStyleCnt="3">
        <dgm:presLayoutVars>
          <dgm:chMax val="1"/>
          <dgm:bulletEnabled val="1"/>
        </dgm:presLayoutVars>
      </dgm:prSet>
      <dgm:spPr/>
    </dgm:pt>
    <dgm:pt modelId="{21C9F37F-8B6F-483F-9666-26A7EC84E17D}" type="pres">
      <dgm:prSet presAssocID="{036E05A6-C120-4561-B918-9672EC4DF21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FBF09FB-A38A-44A4-B2F6-7CA0CD54E3F5}" type="pres">
      <dgm:prSet presAssocID="{116DCCD3-8980-4A14-A986-ADAA36F9D871}" presName="Name8" presStyleCnt="0"/>
      <dgm:spPr/>
    </dgm:pt>
    <dgm:pt modelId="{36DE7232-AC3E-478D-A42B-D2D23C532C73}" type="pres">
      <dgm:prSet presAssocID="{116DCCD3-8980-4A14-A986-ADAA36F9D871}" presName="level" presStyleLbl="node1" presStyleIdx="1" presStyleCnt="3">
        <dgm:presLayoutVars>
          <dgm:chMax val="1"/>
          <dgm:bulletEnabled val="1"/>
        </dgm:presLayoutVars>
      </dgm:prSet>
      <dgm:spPr/>
    </dgm:pt>
    <dgm:pt modelId="{35588734-8CD6-434A-A72E-4D71A8E05D51}" type="pres">
      <dgm:prSet presAssocID="{116DCCD3-8980-4A14-A986-ADAA36F9D871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8BA50B0-ECF5-4922-9294-B81E13407B21}" type="pres">
      <dgm:prSet presAssocID="{358D9700-5E54-429B-99E5-321364A6C051}" presName="Name8" presStyleCnt="0"/>
      <dgm:spPr/>
    </dgm:pt>
    <dgm:pt modelId="{6DD9AFD6-85A3-4176-A6EC-F797AA86814C}" type="pres">
      <dgm:prSet presAssocID="{358D9700-5E54-429B-99E5-321364A6C051}" presName="level" presStyleLbl="node1" presStyleIdx="2" presStyleCnt="3">
        <dgm:presLayoutVars>
          <dgm:chMax val="1"/>
          <dgm:bulletEnabled val="1"/>
        </dgm:presLayoutVars>
      </dgm:prSet>
      <dgm:spPr/>
    </dgm:pt>
    <dgm:pt modelId="{EFCDD072-ED36-4EB6-AE37-82B0A30DEB5B}" type="pres">
      <dgm:prSet presAssocID="{358D9700-5E54-429B-99E5-321364A6C051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F9D19829-B212-46C4-80F2-BFCDFCA1FBCA}" type="presOf" srcId="{358D9700-5E54-429B-99E5-321364A6C051}" destId="{6DD9AFD6-85A3-4176-A6EC-F797AA86814C}" srcOrd="0" destOrd="0" presId="urn:microsoft.com/office/officeart/2005/8/layout/pyramid1"/>
    <dgm:cxn modelId="{E4162A3A-810D-4193-9BD8-D008759540C1}" srcId="{3AFA1F7A-CEDA-4B92-B41E-81A5AF4D1C16}" destId="{116DCCD3-8980-4A14-A986-ADAA36F9D871}" srcOrd="1" destOrd="0" parTransId="{AC94EE97-4359-40A7-B929-13EB1E99C262}" sibTransId="{C2272F06-EF5D-4C38-8E71-4268BFEF288A}"/>
    <dgm:cxn modelId="{D4DE0A67-A1E1-4DA1-9881-A342D4FE76A3}" type="presOf" srcId="{036E05A6-C120-4561-B918-9672EC4DF212}" destId="{94C1C078-C725-4ABC-9144-4C7FEF361092}" srcOrd="0" destOrd="0" presId="urn:microsoft.com/office/officeart/2005/8/layout/pyramid1"/>
    <dgm:cxn modelId="{237BF886-B8BB-4048-8333-1438D16264C1}" type="presOf" srcId="{358D9700-5E54-429B-99E5-321364A6C051}" destId="{EFCDD072-ED36-4EB6-AE37-82B0A30DEB5B}" srcOrd="1" destOrd="0" presId="urn:microsoft.com/office/officeart/2005/8/layout/pyramid1"/>
    <dgm:cxn modelId="{D549EEA7-8ED9-4519-A761-2D68B718D631}" type="presOf" srcId="{3AFA1F7A-CEDA-4B92-B41E-81A5AF4D1C16}" destId="{D73CE0FD-9835-4BB9-9041-24EE4118EC29}" srcOrd="0" destOrd="0" presId="urn:microsoft.com/office/officeart/2005/8/layout/pyramid1"/>
    <dgm:cxn modelId="{79B104C5-B4DE-48FB-B85B-7BD44EFE45BE}" type="presOf" srcId="{036E05A6-C120-4561-B918-9672EC4DF212}" destId="{21C9F37F-8B6F-483F-9666-26A7EC84E17D}" srcOrd="1" destOrd="0" presId="urn:microsoft.com/office/officeart/2005/8/layout/pyramid1"/>
    <dgm:cxn modelId="{72D025CC-227D-4E83-8332-E4073A92951E}" type="presOf" srcId="{116DCCD3-8980-4A14-A986-ADAA36F9D871}" destId="{35588734-8CD6-434A-A72E-4D71A8E05D51}" srcOrd="1" destOrd="0" presId="urn:microsoft.com/office/officeart/2005/8/layout/pyramid1"/>
    <dgm:cxn modelId="{6B2E71EE-0818-4FD9-B55B-F7397C83565A}" srcId="{3AFA1F7A-CEDA-4B92-B41E-81A5AF4D1C16}" destId="{036E05A6-C120-4561-B918-9672EC4DF212}" srcOrd="0" destOrd="0" parTransId="{54050488-FB99-4DFD-921F-BC7A2E7205D9}" sibTransId="{588A779F-B8A7-4620-8231-F2FEFD5F297E}"/>
    <dgm:cxn modelId="{04982DF5-27DE-433F-8C6F-0C03E3F594B4}" type="presOf" srcId="{116DCCD3-8980-4A14-A986-ADAA36F9D871}" destId="{36DE7232-AC3E-478D-A42B-D2D23C532C73}" srcOrd="0" destOrd="0" presId="urn:microsoft.com/office/officeart/2005/8/layout/pyramid1"/>
    <dgm:cxn modelId="{6E7FB6F6-6BEC-43A1-A508-159FF33CDFD3}" srcId="{3AFA1F7A-CEDA-4B92-B41E-81A5AF4D1C16}" destId="{358D9700-5E54-429B-99E5-321364A6C051}" srcOrd="2" destOrd="0" parTransId="{88377AD5-7DCE-4122-A9B4-179FF29D5107}" sibTransId="{BEC2A4D9-652D-4F8F-80A4-F617854C21CE}"/>
    <dgm:cxn modelId="{3337B6E4-4583-495E-98A4-4FA01820F723}" type="presParOf" srcId="{D73CE0FD-9835-4BB9-9041-24EE4118EC29}" destId="{9AE5CF01-E2AE-49A2-B42F-1DA5CE4D59D2}" srcOrd="0" destOrd="0" presId="urn:microsoft.com/office/officeart/2005/8/layout/pyramid1"/>
    <dgm:cxn modelId="{FB6C8373-4B16-4270-BB91-C9C914AA646B}" type="presParOf" srcId="{9AE5CF01-E2AE-49A2-B42F-1DA5CE4D59D2}" destId="{94C1C078-C725-4ABC-9144-4C7FEF361092}" srcOrd="0" destOrd="0" presId="urn:microsoft.com/office/officeart/2005/8/layout/pyramid1"/>
    <dgm:cxn modelId="{C50DD622-E9C6-477A-BD65-B20D193EB16B}" type="presParOf" srcId="{9AE5CF01-E2AE-49A2-B42F-1DA5CE4D59D2}" destId="{21C9F37F-8B6F-483F-9666-26A7EC84E17D}" srcOrd="1" destOrd="0" presId="urn:microsoft.com/office/officeart/2005/8/layout/pyramid1"/>
    <dgm:cxn modelId="{C11C27AE-034D-4DB3-AFB2-BE88D64169F2}" type="presParOf" srcId="{D73CE0FD-9835-4BB9-9041-24EE4118EC29}" destId="{BFBF09FB-A38A-44A4-B2F6-7CA0CD54E3F5}" srcOrd="1" destOrd="0" presId="urn:microsoft.com/office/officeart/2005/8/layout/pyramid1"/>
    <dgm:cxn modelId="{30590FB0-48E5-4127-A481-9BF546DC27E5}" type="presParOf" srcId="{BFBF09FB-A38A-44A4-B2F6-7CA0CD54E3F5}" destId="{36DE7232-AC3E-478D-A42B-D2D23C532C73}" srcOrd="0" destOrd="0" presId="urn:microsoft.com/office/officeart/2005/8/layout/pyramid1"/>
    <dgm:cxn modelId="{1764ED6B-81D7-487D-982D-0C69FAD3FD1A}" type="presParOf" srcId="{BFBF09FB-A38A-44A4-B2F6-7CA0CD54E3F5}" destId="{35588734-8CD6-434A-A72E-4D71A8E05D51}" srcOrd="1" destOrd="0" presId="urn:microsoft.com/office/officeart/2005/8/layout/pyramid1"/>
    <dgm:cxn modelId="{B4923F04-D28E-48D2-A4EB-9F3F9C16080D}" type="presParOf" srcId="{D73CE0FD-9835-4BB9-9041-24EE4118EC29}" destId="{08BA50B0-ECF5-4922-9294-B81E13407B21}" srcOrd="2" destOrd="0" presId="urn:microsoft.com/office/officeart/2005/8/layout/pyramid1"/>
    <dgm:cxn modelId="{B7AB69AF-AA18-4277-A1BF-846547EE0986}" type="presParOf" srcId="{08BA50B0-ECF5-4922-9294-B81E13407B21}" destId="{6DD9AFD6-85A3-4176-A6EC-F797AA86814C}" srcOrd="0" destOrd="0" presId="urn:microsoft.com/office/officeart/2005/8/layout/pyramid1"/>
    <dgm:cxn modelId="{E8326ED9-28D5-4CFB-94D6-C5D011C4CE7F}" type="presParOf" srcId="{08BA50B0-ECF5-4922-9294-B81E13407B21}" destId="{EFCDD072-ED36-4EB6-AE37-82B0A30DEB5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C1C078-C725-4ABC-9144-4C7FEF361092}">
      <dsp:nvSpPr>
        <dsp:cNvPr id="0" name=""/>
        <dsp:cNvSpPr/>
      </dsp:nvSpPr>
      <dsp:spPr>
        <a:xfrm>
          <a:off x="2148096" y="0"/>
          <a:ext cx="2148096" cy="1557188"/>
        </a:xfrm>
        <a:prstGeom prst="trapezoid">
          <a:avLst>
            <a:gd name="adj" fmla="val 68974"/>
          </a:avLst>
        </a:prstGeom>
        <a:solidFill>
          <a:schemeClr val="accent6">
            <a:lumMod val="10000"/>
            <a:lumOff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/>
        </a:p>
      </dsp:txBody>
      <dsp:txXfrm>
        <a:off x="2148096" y="0"/>
        <a:ext cx="2148096" cy="1557188"/>
      </dsp:txXfrm>
    </dsp:sp>
    <dsp:sp modelId="{36DE7232-AC3E-478D-A42B-D2D23C532C73}">
      <dsp:nvSpPr>
        <dsp:cNvPr id="0" name=""/>
        <dsp:cNvSpPr/>
      </dsp:nvSpPr>
      <dsp:spPr>
        <a:xfrm>
          <a:off x="1074048" y="1557188"/>
          <a:ext cx="4296193" cy="1557188"/>
        </a:xfrm>
        <a:prstGeom prst="trapezoid">
          <a:avLst>
            <a:gd name="adj" fmla="val 68974"/>
          </a:avLst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/>
        </a:p>
      </dsp:txBody>
      <dsp:txXfrm>
        <a:off x="1825882" y="1557188"/>
        <a:ext cx="2792525" cy="1557188"/>
      </dsp:txXfrm>
    </dsp:sp>
    <dsp:sp modelId="{6DD9AFD6-85A3-4176-A6EC-F797AA86814C}">
      <dsp:nvSpPr>
        <dsp:cNvPr id="0" name=""/>
        <dsp:cNvSpPr/>
      </dsp:nvSpPr>
      <dsp:spPr>
        <a:xfrm>
          <a:off x="0" y="3114376"/>
          <a:ext cx="6444290" cy="1557188"/>
        </a:xfrm>
        <a:prstGeom prst="trapezoid">
          <a:avLst>
            <a:gd name="adj" fmla="val 68974"/>
          </a:avLst>
        </a:prstGeom>
        <a:solidFill>
          <a:schemeClr val="tx2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/>
        </a:p>
      </dsp:txBody>
      <dsp:txXfrm>
        <a:off x="1127750" y="3114376"/>
        <a:ext cx="4188788" cy="155718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C1C078-C725-4ABC-9144-4C7FEF361092}">
      <dsp:nvSpPr>
        <dsp:cNvPr id="0" name=""/>
        <dsp:cNvSpPr/>
      </dsp:nvSpPr>
      <dsp:spPr>
        <a:xfrm>
          <a:off x="2148097" y="0"/>
          <a:ext cx="2148097" cy="1557188"/>
        </a:xfrm>
        <a:prstGeom prst="trapezoid">
          <a:avLst>
            <a:gd name="adj" fmla="val 68974"/>
          </a:avLst>
        </a:prstGeom>
        <a:solidFill>
          <a:schemeClr val="accent6">
            <a:lumMod val="10000"/>
            <a:lumOff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/>
        </a:p>
      </dsp:txBody>
      <dsp:txXfrm>
        <a:off x="2148097" y="0"/>
        <a:ext cx="2148097" cy="1557188"/>
      </dsp:txXfrm>
    </dsp:sp>
    <dsp:sp modelId="{36DE7232-AC3E-478D-A42B-D2D23C532C73}">
      <dsp:nvSpPr>
        <dsp:cNvPr id="0" name=""/>
        <dsp:cNvSpPr/>
      </dsp:nvSpPr>
      <dsp:spPr>
        <a:xfrm>
          <a:off x="1074048" y="1557188"/>
          <a:ext cx="4296194" cy="1557188"/>
        </a:xfrm>
        <a:prstGeom prst="trapezoid">
          <a:avLst>
            <a:gd name="adj" fmla="val 68974"/>
          </a:avLst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/>
        </a:p>
      </dsp:txBody>
      <dsp:txXfrm>
        <a:off x="1825882" y="1557188"/>
        <a:ext cx="2792526" cy="1557188"/>
      </dsp:txXfrm>
    </dsp:sp>
    <dsp:sp modelId="{6DD9AFD6-85A3-4176-A6EC-F797AA86814C}">
      <dsp:nvSpPr>
        <dsp:cNvPr id="0" name=""/>
        <dsp:cNvSpPr/>
      </dsp:nvSpPr>
      <dsp:spPr>
        <a:xfrm>
          <a:off x="0" y="3114376"/>
          <a:ext cx="6444292" cy="1557188"/>
        </a:xfrm>
        <a:prstGeom prst="trapezoid">
          <a:avLst>
            <a:gd name="adj" fmla="val 68974"/>
          </a:avLst>
        </a:prstGeom>
        <a:solidFill>
          <a:schemeClr val="tx2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/>
        </a:p>
      </dsp:txBody>
      <dsp:txXfrm>
        <a:off x="1127751" y="3114376"/>
        <a:ext cx="4188789" cy="155718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C1C078-C725-4ABC-9144-4C7FEF361092}">
      <dsp:nvSpPr>
        <dsp:cNvPr id="0" name=""/>
        <dsp:cNvSpPr/>
      </dsp:nvSpPr>
      <dsp:spPr>
        <a:xfrm>
          <a:off x="2148097" y="0"/>
          <a:ext cx="2148097" cy="1557188"/>
        </a:xfrm>
        <a:prstGeom prst="trapezoid">
          <a:avLst>
            <a:gd name="adj" fmla="val 68974"/>
          </a:avLst>
        </a:prstGeom>
        <a:solidFill>
          <a:schemeClr val="accent6">
            <a:lumMod val="10000"/>
            <a:lumOff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/>
        </a:p>
      </dsp:txBody>
      <dsp:txXfrm>
        <a:off x="2148097" y="0"/>
        <a:ext cx="2148097" cy="1557188"/>
      </dsp:txXfrm>
    </dsp:sp>
    <dsp:sp modelId="{36DE7232-AC3E-478D-A42B-D2D23C532C73}">
      <dsp:nvSpPr>
        <dsp:cNvPr id="0" name=""/>
        <dsp:cNvSpPr/>
      </dsp:nvSpPr>
      <dsp:spPr>
        <a:xfrm>
          <a:off x="1074048" y="1557188"/>
          <a:ext cx="4296194" cy="1557188"/>
        </a:xfrm>
        <a:prstGeom prst="trapezoid">
          <a:avLst>
            <a:gd name="adj" fmla="val 68974"/>
          </a:avLst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/>
        </a:p>
      </dsp:txBody>
      <dsp:txXfrm>
        <a:off x="1825882" y="1557188"/>
        <a:ext cx="2792526" cy="1557188"/>
      </dsp:txXfrm>
    </dsp:sp>
    <dsp:sp modelId="{6DD9AFD6-85A3-4176-A6EC-F797AA86814C}">
      <dsp:nvSpPr>
        <dsp:cNvPr id="0" name=""/>
        <dsp:cNvSpPr/>
      </dsp:nvSpPr>
      <dsp:spPr>
        <a:xfrm>
          <a:off x="0" y="3114376"/>
          <a:ext cx="6444292" cy="1557188"/>
        </a:xfrm>
        <a:prstGeom prst="trapezoid">
          <a:avLst>
            <a:gd name="adj" fmla="val 68974"/>
          </a:avLst>
        </a:prstGeom>
        <a:solidFill>
          <a:schemeClr val="tx2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/>
        </a:p>
      </dsp:txBody>
      <dsp:txXfrm>
        <a:off x="1127751" y="3114376"/>
        <a:ext cx="4188789" cy="155718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C1C078-C725-4ABC-9144-4C7FEF361092}">
      <dsp:nvSpPr>
        <dsp:cNvPr id="0" name=""/>
        <dsp:cNvSpPr/>
      </dsp:nvSpPr>
      <dsp:spPr>
        <a:xfrm>
          <a:off x="2148097" y="0"/>
          <a:ext cx="2148097" cy="1557188"/>
        </a:xfrm>
        <a:prstGeom prst="trapezoid">
          <a:avLst>
            <a:gd name="adj" fmla="val 68974"/>
          </a:avLst>
        </a:prstGeom>
        <a:solidFill>
          <a:schemeClr val="accent6">
            <a:lumMod val="10000"/>
            <a:lumOff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/>
        </a:p>
      </dsp:txBody>
      <dsp:txXfrm>
        <a:off x="2148097" y="0"/>
        <a:ext cx="2148097" cy="1557188"/>
      </dsp:txXfrm>
    </dsp:sp>
    <dsp:sp modelId="{36DE7232-AC3E-478D-A42B-D2D23C532C73}">
      <dsp:nvSpPr>
        <dsp:cNvPr id="0" name=""/>
        <dsp:cNvSpPr/>
      </dsp:nvSpPr>
      <dsp:spPr>
        <a:xfrm>
          <a:off x="1074048" y="1557188"/>
          <a:ext cx="4296194" cy="1557188"/>
        </a:xfrm>
        <a:prstGeom prst="trapezoid">
          <a:avLst>
            <a:gd name="adj" fmla="val 68974"/>
          </a:avLst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/>
        </a:p>
      </dsp:txBody>
      <dsp:txXfrm>
        <a:off x="1825882" y="1557188"/>
        <a:ext cx="2792526" cy="1557188"/>
      </dsp:txXfrm>
    </dsp:sp>
    <dsp:sp modelId="{6DD9AFD6-85A3-4176-A6EC-F797AA86814C}">
      <dsp:nvSpPr>
        <dsp:cNvPr id="0" name=""/>
        <dsp:cNvSpPr/>
      </dsp:nvSpPr>
      <dsp:spPr>
        <a:xfrm>
          <a:off x="0" y="3114376"/>
          <a:ext cx="6444292" cy="1557188"/>
        </a:xfrm>
        <a:prstGeom prst="trapezoid">
          <a:avLst>
            <a:gd name="adj" fmla="val 68974"/>
          </a:avLst>
        </a:prstGeom>
        <a:solidFill>
          <a:schemeClr val="tx2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/>
        </a:p>
      </dsp:txBody>
      <dsp:txXfrm>
        <a:off x="1127751" y="3114376"/>
        <a:ext cx="4188789" cy="155718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C1C078-C725-4ABC-9144-4C7FEF361092}">
      <dsp:nvSpPr>
        <dsp:cNvPr id="0" name=""/>
        <dsp:cNvSpPr/>
      </dsp:nvSpPr>
      <dsp:spPr>
        <a:xfrm>
          <a:off x="2148097" y="0"/>
          <a:ext cx="2148097" cy="1557188"/>
        </a:xfrm>
        <a:prstGeom prst="trapezoid">
          <a:avLst>
            <a:gd name="adj" fmla="val 68974"/>
          </a:avLst>
        </a:prstGeom>
        <a:solidFill>
          <a:schemeClr val="accent6">
            <a:lumMod val="10000"/>
            <a:lumOff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/>
        </a:p>
      </dsp:txBody>
      <dsp:txXfrm>
        <a:off x="2148097" y="0"/>
        <a:ext cx="2148097" cy="1557188"/>
      </dsp:txXfrm>
    </dsp:sp>
    <dsp:sp modelId="{36DE7232-AC3E-478D-A42B-D2D23C532C73}">
      <dsp:nvSpPr>
        <dsp:cNvPr id="0" name=""/>
        <dsp:cNvSpPr/>
      </dsp:nvSpPr>
      <dsp:spPr>
        <a:xfrm>
          <a:off x="1074048" y="1557188"/>
          <a:ext cx="4296194" cy="1557188"/>
        </a:xfrm>
        <a:prstGeom prst="trapezoid">
          <a:avLst>
            <a:gd name="adj" fmla="val 68974"/>
          </a:avLst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/>
        </a:p>
      </dsp:txBody>
      <dsp:txXfrm>
        <a:off x="1825882" y="1557188"/>
        <a:ext cx="2792526" cy="1557188"/>
      </dsp:txXfrm>
    </dsp:sp>
    <dsp:sp modelId="{6DD9AFD6-85A3-4176-A6EC-F797AA86814C}">
      <dsp:nvSpPr>
        <dsp:cNvPr id="0" name=""/>
        <dsp:cNvSpPr/>
      </dsp:nvSpPr>
      <dsp:spPr>
        <a:xfrm>
          <a:off x="0" y="3114376"/>
          <a:ext cx="6444292" cy="1557188"/>
        </a:xfrm>
        <a:prstGeom prst="trapezoid">
          <a:avLst>
            <a:gd name="adj" fmla="val 68974"/>
          </a:avLst>
        </a:prstGeom>
        <a:solidFill>
          <a:schemeClr val="tx2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/>
        </a:p>
      </dsp:txBody>
      <dsp:txXfrm>
        <a:off x="1127751" y="3114376"/>
        <a:ext cx="4188789" cy="155718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C1C078-C725-4ABC-9144-4C7FEF361092}">
      <dsp:nvSpPr>
        <dsp:cNvPr id="0" name=""/>
        <dsp:cNvSpPr/>
      </dsp:nvSpPr>
      <dsp:spPr>
        <a:xfrm>
          <a:off x="2148097" y="0"/>
          <a:ext cx="2148097" cy="1557188"/>
        </a:xfrm>
        <a:prstGeom prst="trapezoid">
          <a:avLst>
            <a:gd name="adj" fmla="val 68974"/>
          </a:avLst>
        </a:prstGeom>
        <a:solidFill>
          <a:schemeClr val="accent6">
            <a:lumMod val="10000"/>
            <a:lumOff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/>
        </a:p>
      </dsp:txBody>
      <dsp:txXfrm>
        <a:off x="2148097" y="0"/>
        <a:ext cx="2148097" cy="1557188"/>
      </dsp:txXfrm>
    </dsp:sp>
    <dsp:sp modelId="{36DE7232-AC3E-478D-A42B-D2D23C532C73}">
      <dsp:nvSpPr>
        <dsp:cNvPr id="0" name=""/>
        <dsp:cNvSpPr/>
      </dsp:nvSpPr>
      <dsp:spPr>
        <a:xfrm>
          <a:off x="1074048" y="1557188"/>
          <a:ext cx="4296194" cy="1557188"/>
        </a:xfrm>
        <a:prstGeom prst="trapezoid">
          <a:avLst>
            <a:gd name="adj" fmla="val 68974"/>
          </a:avLst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/>
        </a:p>
      </dsp:txBody>
      <dsp:txXfrm>
        <a:off x="1825882" y="1557188"/>
        <a:ext cx="2792526" cy="1557188"/>
      </dsp:txXfrm>
    </dsp:sp>
    <dsp:sp modelId="{6DD9AFD6-85A3-4176-A6EC-F797AA86814C}">
      <dsp:nvSpPr>
        <dsp:cNvPr id="0" name=""/>
        <dsp:cNvSpPr/>
      </dsp:nvSpPr>
      <dsp:spPr>
        <a:xfrm>
          <a:off x="0" y="3114376"/>
          <a:ext cx="6444292" cy="1557188"/>
        </a:xfrm>
        <a:prstGeom prst="trapezoid">
          <a:avLst>
            <a:gd name="adj" fmla="val 68974"/>
          </a:avLst>
        </a:prstGeom>
        <a:solidFill>
          <a:schemeClr val="tx2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/>
        </a:p>
      </dsp:txBody>
      <dsp:txXfrm>
        <a:off x="1127751" y="3114376"/>
        <a:ext cx="4188789" cy="155718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2946399" cy="493713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91" y="1"/>
            <a:ext cx="2946399" cy="493713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fld id="{72941E5A-B3DC-4840-824B-9A00C3D95F4A}" type="datetimeFigureOut">
              <a:rPr lang="en-IN" smtClean="0"/>
              <a:pPr/>
              <a:t>29-05-2024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2" y="4691063"/>
            <a:ext cx="5438775" cy="4443412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5" y="9378953"/>
            <a:ext cx="2946399" cy="493713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91" y="9378953"/>
            <a:ext cx="2946399" cy="493713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>
              <a:defRPr sz="1200"/>
            </a:lvl1pPr>
          </a:lstStyle>
          <a:p>
            <a:fld id="{6706C792-6ACE-4873-85BE-493D166010D0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889609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0" algn="l" defTabSz="9143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60" algn="l" defTabSz="9143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40" algn="l" defTabSz="9143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19" algn="l" defTabSz="9143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99" algn="l" defTabSz="9143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80" algn="l" defTabSz="9143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59" algn="l" defTabSz="9143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39" algn="l" defTabSz="9143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6C792-6ACE-4873-85BE-493D166010D0}" type="slidenum">
              <a:rPr lang="en-IN" smtClean="0"/>
              <a:pPr/>
              <a:t>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513898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slideMaster" Target="../slideMasters/slideMaster9.xml"/><Relationship Id="rId5" Type="http://schemas.openxmlformats.org/officeDocument/2006/relationships/tags" Target="../tags/tag119.xml"/><Relationship Id="rId4" Type="http://schemas.openxmlformats.org/officeDocument/2006/relationships/tags" Target="../tags/tag11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tags" Target="../tags/tag125.xml"/><Relationship Id="rId5" Type="http://schemas.openxmlformats.org/officeDocument/2006/relationships/tags" Target="../tags/tag124.xml"/><Relationship Id="rId4" Type="http://schemas.openxmlformats.org/officeDocument/2006/relationships/tags" Target="../tags/tag12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slideMaster" Target="../slideMasters/slideMaster9.xml"/><Relationship Id="rId5" Type="http://schemas.openxmlformats.org/officeDocument/2006/relationships/tags" Target="../tags/tag130.xml"/><Relationship Id="rId4" Type="http://schemas.openxmlformats.org/officeDocument/2006/relationships/tags" Target="../tags/tag12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Master" Target="../slideMasters/slideMaster9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slideMaster" Target="../slideMasters/slideMaster10.xml"/><Relationship Id="rId5" Type="http://schemas.openxmlformats.org/officeDocument/2006/relationships/tags" Target="../tags/tag136.xml"/><Relationship Id="rId4" Type="http://schemas.openxmlformats.org/officeDocument/2006/relationships/tags" Target="../tags/tag13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7" Type="http://schemas.openxmlformats.org/officeDocument/2006/relationships/slideMaster" Target="../slideMasters/slideMaster10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5" Type="http://schemas.openxmlformats.org/officeDocument/2006/relationships/tags" Target="../tags/tag141.xml"/><Relationship Id="rId4" Type="http://schemas.openxmlformats.org/officeDocument/2006/relationships/tags" Target="../tags/tag14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slideMaster" Target="../slideMasters/slideMaster10.xml"/><Relationship Id="rId5" Type="http://schemas.openxmlformats.org/officeDocument/2006/relationships/tags" Target="../tags/tag147.xml"/><Relationship Id="rId4" Type="http://schemas.openxmlformats.org/officeDocument/2006/relationships/tags" Target="../tags/tag14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Master" Target="../slideMasters/slideMaster10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5.bin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hemeOverride" Target="../theme/themeOverride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slideMaster" Target="../slideMasters/slideMaster13.xml"/><Relationship Id="rId5" Type="http://schemas.openxmlformats.org/officeDocument/2006/relationships/tags" Target="../tags/tag157.xml"/><Relationship Id="rId4" Type="http://schemas.openxmlformats.org/officeDocument/2006/relationships/tags" Target="../tags/tag15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7" Type="http://schemas.openxmlformats.org/officeDocument/2006/relationships/slideMaster" Target="../slideMasters/slideMaster13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tags" Target="../tags/tag163.xml"/><Relationship Id="rId5" Type="http://schemas.openxmlformats.org/officeDocument/2006/relationships/tags" Target="../tags/tag162.xml"/><Relationship Id="rId4" Type="http://schemas.openxmlformats.org/officeDocument/2006/relationships/tags" Target="../tags/tag161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slideMaster" Target="../slideMasters/slideMaster13.xml"/><Relationship Id="rId5" Type="http://schemas.openxmlformats.org/officeDocument/2006/relationships/tags" Target="../tags/tag168.xml"/><Relationship Id="rId4" Type="http://schemas.openxmlformats.org/officeDocument/2006/relationships/tags" Target="../tags/tag16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Master" Target="../slideMasters/slideMaster13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Master" Target="../slideMasters/slideMaster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6.jpeg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6" Type="http://schemas.openxmlformats.org/officeDocument/2006/relationships/image" Target="../media/image8.jpeg"/><Relationship Id="rId11" Type="http://schemas.openxmlformats.org/officeDocument/2006/relationships/image" Target="../media/image13.png"/><Relationship Id="rId5" Type="http://schemas.openxmlformats.org/officeDocument/2006/relationships/image" Target="../media/image7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1.png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6.jpeg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7.xml"/><Relationship Id="rId6" Type="http://schemas.openxmlformats.org/officeDocument/2006/relationships/image" Target="../media/image8.jpeg"/><Relationship Id="rId11" Type="http://schemas.openxmlformats.org/officeDocument/2006/relationships/image" Target="../media/image13.png"/><Relationship Id="rId5" Type="http://schemas.openxmlformats.org/officeDocument/2006/relationships/image" Target="../media/image7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1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6.jpeg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7.xml"/><Relationship Id="rId6" Type="http://schemas.openxmlformats.org/officeDocument/2006/relationships/image" Target="../media/image8.jpeg"/><Relationship Id="rId11" Type="http://schemas.openxmlformats.org/officeDocument/2006/relationships/image" Target="../media/image13.png"/><Relationship Id="rId5" Type="http://schemas.openxmlformats.org/officeDocument/2006/relationships/image" Target="../media/image7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1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7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84.xml"/><Relationship Id="rId4" Type="http://schemas.openxmlformats.org/officeDocument/2006/relationships/tags" Target="../tags/tag8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5" Type="http://schemas.openxmlformats.org/officeDocument/2006/relationships/tags" Target="../tags/tag89.xml"/><Relationship Id="rId4" Type="http://schemas.openxmlformats.org/officeDocument/2006/relationships/tags" Target="../tags/tag88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95.xml"/><Relationship Id="rId4" Type="http://schemas.openxmlformats.org/officeDocument/2006/relationships/tags" Target="../tags/tag9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Master" Target="../slideMasters/slideMaster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01.xml"/><Relationship Id="rId4" Type="http://schemas.openxmlformats.org/officeDocument/2006/relationships/tags" Target="../tags/tag10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4" Type="http://schemas.openxmlformats.org/officeDocument/2006/relationships/tags" Target="../tags/tag105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12.xml"/><Relationship Id="rId4" Type="http://schemas.openxmlformats.org/officeDocument/2006/relationships/tags" Target="../tags/tag11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Master" Target="../slideMasters/slideMaster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PP header horizon met logo's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4227" y="407988"/>
            <a:ext cx="12196234" cy="1566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4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57" y="2374900"/>
            <a:ext cx="11110383" cy="1144588"/>
          </a:xfrm>
        </p:spPr>
        <p:txBody>
          <a:bodyPr bIns="45710"/>
          <a:lstStyle>
            <a:lvl1pPr>
              <a:defRPr sz="3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4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757" y="6191280"/>
            <a:ext cx="11110383" cy="417513"/>
          </a:xfrm>
        </p:spPr>
        <p:txBody>
          <a:bodyPr tIns="45710" rIns="91418" bIns="45710"/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385405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7" y="844555"/>
            <a:ext cx="11110383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537601" y="2088001"/>
            <a:ext cx="11112534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59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37650" y="1513824"/>
            <a:ext cx="11131551" cy="369888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jdelijke aanduiding voor tekst 10"/>
          <p:cNvSpPr>
            <a:spLocks noGrp="1"/>
          </p:cNvSpPr>
          <p:nvPr>
            <p:ph type="body" sz="quarter" idx="18"/>
          </p:nvPr>
        </p:nvSpPr>
        <p:spPr>
          <a:xfrm>
            <a:off x="537608" y="2448001"/>
            <a:ext cx="11112500" cy="957600"/>
          </a:xfrm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ijdelijke aanduiding voor tekst 10"/>
          <p:cNvSpPr>
            <a:spLocks noGrp="1"/>
          </p:cNvSpPr>
          <p:nvPr>
            <p:ph type="body" sz="quarter" idx="19"/>
          </p:nvPr>
        </p:nvSpPr>
        <p:spPr>
          <a:xfrm>
            <a:off x="537640" y="3913200"/>
            <a:ext cx="11112500" cy="957600"/>
          </a:xfrm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ijdelijke aanduiding voor tekst 10"/>
          <p:cNvSpPr>
            <a:spLocks noGrp="1"/>
          </p:cNvSpPr>
          <p:nvPr>
            <p:ph type="body" sz="quarter" idx="20"/>
          </p:nvPr>
        </p:nvSpPr>
        <p:spPr>
          <a:xfrm>
            <a:off x="537640" y="5382000"/>
            <a:ext cx="11112500" cy="957600"/>
          </a:xfrm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ijdelijke aanduiding voor tekst 15"/>
          <p:cNvSpPr>
            <a:spLocks noGrp="1"/>
          </p:cNvSpPr>
          <p:nvPr>
            <p:ph type="body" sz="quarter" idx="21"/>
          </p:nvPr>
        </p:nvSpPr>
        <p:spPr>
          <a:xfrm>
            <a:off x="537601" y="3553200"/>
            <a:ext cx="11112534" cy="360000"/>
          </a:xfrm>
          <a:solidFill>
            <a:schemeClr val="bg1">
              <a:lumMod val="85000"/>
            </a:schemeClr>
          </a:solidFill>
        </p:spPr>
        <p:txBody>
          <a:bodyPr lIns="179959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ijdelijke aanduiding voor tekst 15"/>
          <p:cNvSpPr>
            <a:spLocks noGrp="1"/>
          </p:cNvSpPr>
          <p:nvPr>
            <p:ph type="body" sz="quarter" idx="22"/>
          </p:nvPr>
        </p:nvSpPr>
        <p:spPr>
          <a:xfrm>
            <a:off x="537635" y="5022000"/>
            <a:ext cx="11112534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59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3"/>
          </p:nvPr>
        </p:nvSpPr>
        <p:spPr>
          <a:xfrm>
            <a:off x="11641138" y="167389"/>
            <a:ext cx="670982" cy="215900"/>
          </a:xfrm>
          <a:prstGeom prst="rect">
            <a:avLst/>
          </a:prstGeom>
          <a:ln/>
        </p:spPr>
        <p:txBody>
          <a:bodyPr lIns="91436" tIns="45718" rIns="91436" bIns="45718"/>
          <a:lstStyle>
            <a:lvl1pPr>
              <a:defRPr/>
            </a:lvl1pPr>
          </a:lstStyle>
          <a:p>
            <a:pPr>
              <a:defRPr/>
            </a:pPr>
            <a:fld id="{52F3E2E6-0002-40E1-98BA-05E901993722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ftr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726856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27635" y="521894"/>
            <a:ext cx="11632606" cy="360363"/>
          </a:xfrm>
        </p:spPr>
        <p:txBody>
          <a:bodyPr/>
          <a:lstStyle>
            <a:lvl1pPr>
              <a:defRPr sz="146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4"/>
          </p:nvPr>
        </p:nvSpPr>
        <p:spPr>
          <a:xfrm>
            <a:off x="264215" y="167389"/>
            <a:ext cx="4798484" cy="215900"/>
          </a:xfrm>
          <a:ln/>
        </p:spPr>
        <p:txBody>
          <a:bodyPr/>
          <a:lstStyle>
            <a:lvl1pPr>
              <a:defRPr/>
            </a:lvl1pPr>
          </a:lstStyle>
          <a:p>
            <a:endParaRPr lang="en-IN"/>
          </a:p>
        </p:txBody>
      </p:sp>
      <p:sp>
        <p:nvSpPr>
          <p:cNvPr id="8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746683" y="191631"/>
            <a:ext cx="326444" cy="219391"/>
          </a:xfrm>
          <a:prstGeom prst="rect">
            <a:avLst/>
          </a:prstGeom>
        </p:spPr>
        <p:txBody>
          <a:bodyPr vert="horz" lIns="0" tIns="44098" rIns="69446" bIns="44098" rtlCol="0" anchor="ctr"/>
          <a:lstStyle>
            <a:lvl1pPr algn="l">
              <a:defRPr sz="813" b="1">
                <a:solidFill>
                  <a:schemeClr val="bg1"/>
                </a:solidFill>
                <a:latin typeface="+mn-lt"/>
              </a:defRPr>
            </a:lvl1pPr>
          </a:lstStyle>
          <a:p>
            <a:fld id="{7C8DA21C-F319-470D-AFEA-38AD1E9E05DF}" type="slidenum">
              <a:rPr lang="en-IN" smtClean="0"/>
              <a:t>‹#›</a:t>
            </a:fld>
            <a:endParaRPr lang="en-IN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5"/>
          </p:nvPr>
        </p:nvSpPr>
        <p:spPr>
          <a:xfrm>
            <a:off x="279266" y="1094248"/>
            <a:ext cx="11613833" cy="5204657"/>
          </a:xfrm>
        </p:spPr>
        <p:txBody>
          <a:bodyPr/>
          <a:lstStyle>
            <a:lvl1pPr>
              <a:defRPr sz="1219">
                <a:latin typeface="Arial" pitchFamily="34" charset="0"/>
                <a:cs typeface="Arial" pitchFamily="34" charset="0"/>
              </a:defRPr>
            </a:lvl1pPr>
            <a:lvl2pPr>
              <a:defRPr sz="1056">
                <a:latin typeface="Arial" pitchFamily="34" charset="0"/>
                <a:cs typeface="Arial" pitchFamily="34" charset="0"/>
              </a:defRPr>
            </a:lvl2pPr>
            <a:lvl3pPr marL="438669" indent="-146223">
              <a:buClr>
                <a:schemeClr val="tx2"/>
              </a:buClr>
              <a:buFont typeface="Wingdings" pitchFamily="2" charset="2"/>
              <a:buChar char="§"/>
              <a:defRPr sz="89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86239140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8DA21C-F319-470D-AFEA-38AD1E9E05DF}" type="slidenum">
              <a:rPr lang="en-IN" smtClean="0"/>
              <a:t>‹#›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gray">
          <a:xfrm>
            <a:off x="1761813" y="1832375"/>
            <a:ext cx="9411001" cy="53018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947" tIns="54555" rIns="54555" bIns="54555" anchor="ctr"/>
          <a:lstStyle/>
          <a:p>
            <a:pPr defTabSz="742845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IN" sz="1219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6" name="Rectangle 15"/>
          <p:cNvSpPr>
            <a:spLocks noChangeArrowheads="1"/>
          </p:cNvSpPr>
          <p:nvPr/>
        </p:nvSpPr>
        <p:spPr bwMode="gray">
          <a:xfrm>
            <a:off x="563423" y="1837910"/>
            <a:ext cx="1120543" cy="53018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54555" tIns="54555" rIns="54555" bIns="54555" anchor="ctr"/>
          <a:lstStyle/>
          <a:p>
            <a:pPr algn="ctr" defTabSz="742845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219" b="1" noProof="1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gray">
          <a:xfrm>
            <a:off x="1764504" y="2475375"/>
            <a:ext cx="9411001" cy="49489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947" tIns="54555" rIns="54555" bIns="54555" anchor="ctr"/>
          <a:lstStyle/>
          <a:p>
            <a:pPr defTabSz="742845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219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gray">
          <a:xfrm>
            <a:off x="1772043" y="3081675"/>
            <a:ext cx="9411001" cy="550933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947" tIns="54555" rIns="54555" bIns="54555" anchor="ctr"/>
          <a:lstStyle/>
          <a:p>
            <a:pPr defTabSz="742845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219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9" name="Rectangle 15"/>
          <p:cNvSpPr>
            <a:spLocks noChangeArrowheads="1"/>
          </p:cNvSpPr>
          <p:nvPr/>
        </p:nvSpPr>
        <p:spPr bwMode="gray">
          <a:xfrm>
            <a:off x="563417" y="2475375"/>
            <a:ext cx="1093089" cy="49489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54555" tIns="54555" rIns="54555" bIns="54555" anchor="ctr"/>
          <a:lstStyle/>
          <a:p>
            <a:pPr algn="ctr" defTabSz="742845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219" b="1" noProof="1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563417" y="3081648"/>
            <a:ext cx="1093089" cy="53018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54555" tIns="54555" rIns="54555" bIns="54555" anchor="ctr"/>
          <a:lstStyle/>
          <a:p>
            <a:pPr algn="ctr" defTabSz="742845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219" b="1" noProof="1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gray">
          <a:xfrm>
            <a:off x="1772043" y="1210233"/>
            <a:ext cx="9411001" cy="53018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947" tIns="54555" rIns="54555" bIns="54555" anchor="ctr"/>
          <a:lstStyle/>
          <a:p>
            <a:pPr defTabSz="742845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IN" sz="1219" b="1" noProof="1">
                <a:solidFill>
                  <a:srgbClr val="5A245A">
                    <a:lumMod val="90000"/>
                    <a:lumOff val="10000"/>
                  </a:srgbClr>
                </a:solidFill>
              </a:rPr>
              <a:t>Text</a:t>
            </a:r>
          </a:p>
        </p:txBody>
      </p:sp>
      <p:sp>
        <p:nvSpPr>
          <p:cNvPr id="12" name="Rectangle 15"/>
          <p:cNvSpPr>
            <a:spLocks noChangeArrowheads="1"/>
          </p:cNvSpPr>
          <p:nvPr/>
        </p:nvSpPr>
        <p:spPr bwMode="gray">
          <a:xfrm>
            <a:off x="563418" y="1210061"/>
            <a:ext cx="1120543" cy="53018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54555" tIns="54555" rIns="54555" bIns="54555" anchor="ctr"/>
          <a:lstStyle/>
          <a:p>
            <a:pPr algn="ctr" defTabSz="742845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219" b="1" noProof="1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gray">
          <a:xfrm>
            <a:off x="1772034" y="4321244"/>
            <a:ext cx="9411001" cy="550933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947" tIns="54555" rIns="54555" bIns="54555" anchor="ctr"/>
          <a:lstStyle/>
          <a:p>
            <a:pPr defTabSz="742845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219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gray">
          <a:xfrm>
            <a:off x="563417" y="4321213"/>
            <a:ext cx="1093089" cy="53018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54555" tIns="54555" rIns="54555" bIns="54555" anchor="ctr"/>
          <a:lstStyle/>
          <a:p>
            <a:pPr algn="ctr" defTabSz="742845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219" b="1" noProof="1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15" name="Rectangle 4"/>
          <p:cNvSpPr>
            <a:spLocks noChangeArrowheads="1"/>
          </p:cNvSpPr>
          <p:nvPr/>
        </p:nvSpPr>
        <p:spPr bwMode="gray">
          <a:xfrm>
            <a:off x="1772043" y="3725717"/>
            <a:ext cx="9411001" cy="49489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947" tIns="54555" rIns="54555" bIns="54555" anchor="ctr"/>
          <a:lstStyle/>
          <a:p>
            <a:pPr defTabSz="742845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219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gray">
          <a:xfrm>
            <a:off x="570945" y="3725717"/>
            <a:ext cx="1093089" cy="49489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54555" tIns="54555" rIns="54555" bIns="54555" anchor="ctr"/>
          <a:lstStyle/>
          <a:p>
            <a:pPr algn="ctr" defTabSz="742845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219" b="1" noProof="1">
                <a:solidFill>
                  <a:srgbClr val="FFFFFF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430560264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8DA21C-F319-470D-AFEA-38AD1E9E05DF}" type="slidenum">
              <a:rPr lang="en-IN" smtClean="0"/>
              <a:t>‹#›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gray">
          <a:xfrm>
            <a:off x="1744876" y="2417847"/>
            <a:ext cx="9411001" cy="53018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783" tIns="54511" rIns="54511" bIns="54511" anchor="ctr"/>
          <a:lstStyle/>
          <a:p>
            <a:pPr defTabSz="746637" eaLnBrk="0" hangingPunct="0">
              <a:spcBef>
                <a:spcPct val="25000"/>
              </a:spcBef>
              <a:defRPr/>
            </a:pPr>
            <a:r>
              <a:rPr lang="en-IN" sz="1219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6" name="Rectangle 15"/>
          <p:cNvSpPr>
            <a:spLocks noChangeArrowheads="1"/>
          </p:cNvSpPr>
          <p:nvPr/>
        </p:nvSpPr>
        <p:spPr bwMode="gray">
          <a:xfrm>
            <a:off x="546481" y="1767272"/>
            <a:ext cx="1120543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54511" tIns="54511" rIns="54511" bIns="54511" anchor="ctr"/>
          <a:lstStyle/>
          <a:p>
            <a:pPr algn="ctr" defTabSz="746637" eaLnBrk="0" hangingPunct="0">
              <a:spcBef>
                <a:spcPct val="25000"/>
              </a:spcBef>
              <a:defRPr/>
            </a:pPr>
            <a:r>
              <a:rPr lang="en-US" sz="1219" b="1" noProof="1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gray">
          <a:xfrm>
            <a:off x="1747541" y="3056054"/>
            <a:ext cx="9411001" cy="49489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783" tIns="54511" rIns="54511" bIns="54511" anchor="ctr"/>
          <a:lstStyle/>
          <a:p>
            <a:pPr defTabSz="746637" eaLnBrk="0" hangingPunct="0">
              <a:spcBef>
                <a:spcPct val="25000"/>
              </a:spcBef>
              <a:defRPr/>
            </a:pPr>
            <a:r>
              <a:rPr lang="en-IN" sz="1219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8" name="Rectangle 15"/>
          <p:cNvSpPr>
            <a:spLocks noChangeArrowheads="1"/>
          </p:cNvSpPr>
          <p:nvPr/>
        </p:nvSpPr>
        <p:spPr bwMode="gray">
          <a:xfrm>
            <a:off x="546465" y="2404733"/>
            <a:ext cx="1093089" cy="494891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54511" tIns="54511" rIns="54511" bIns="54511" anchor="ctr"/>
          <a:lstStyle/>
          <a:p>
            <a:pPr algn="ctr" defTabSz="746637" eaLnBrk="0" hangingPunct="0">
              <a:spcBef>
                <a:spcPct val="25000"/>
              </a:spcBef>
              <a:defRPr/>
            </a:pPr>
            <a:r>
              <a:rPr lang="en-US" sz="1219" b="1" noProof="1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gray">
          <a:xfrm>
            <a:off x="1755094" y="1139588"/>
            <a:ext cx="9411001" cy="53018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783" tIns="54511" rIns="54511" bIns="54511" anchor="ctr"/>
          <a:lstStyle/>
          <a:p>
            <a:pPr defTabSz="746637" eaLnBrk="0" hangingPunct="0">
              <a:spcBef>
                <a:spcPct val="25000"/>
              </a:spcBef>
              <a:defRPr/>
            </a:pPr>
            <a:r>
              <a:rPr lang="en-IN" sz="1219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546476" y="1139423"/>
            <a:ext cx="1120543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54511" tIns="54511" rIns="54511" bIns="54511" anchor="ctr"/>
          <a:lstStyle/>
          <a:p>
            <a:pPr algn="ctr" defTabSz="746637" eaLnBrk="0" hangingPunct="0">
              <a:spcBef>
                <a:spcPct val="25000"/>
              </a:spcBef>
              <a:defRPr/>
            </a:pPr>
            <a:r>
              <a:rPr lang="en-US" sz="1219" b="1" noProof="1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gray">
          <a:xfrm>
            <a:off x="1755085" y="3676984"/>
            <a:ext cx="9411001" cy="55093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783" tIns="54511" rIns="54511" bIns="54511" anchor="ctr"/>
          <a:lstStyle/>
          <a:p>
            <a:pPr defTabSz="746637" eaLnBrk="0" hangingPunct="0">
              <a:spcBef>
                <a:spcPct val="25000"/>
              </a:spcBef>
              <a:defRPr/>
            </a:pPr>
            <a:r>
              <a:rPr lang="en-US" sz="1219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gray">
          <a:xfrm>
            <a:off x="546465" y="3025654"/>
            <a:ext cx="1093089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54511" tIns="54511" rIns="54511" bIns="54511" anchor="ctr"/>
          <a:lstStyle/>
          <a:p>
            <a:pPr algn="ctr" defTabSz="746637" eaLnBrk="0" hangingPunct="0">
              <a:spcBef>
                <a:spcPct val="25000"/>
              </a:spcBef>
              <a:defRPr/>
            </a:pPr>
            <a:r>
              <a:rPr lang="en-US" sz="1219" b="1" noProof="1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gray">
          <a:xfrm>
            <a:off x="1747541" y="4378601"/>
            <a:ext cx="9411001" cy="55093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783" tIns="54511" rIns="54511" bIns="54511" anchor="ctr"/>
          <a:lstStyle/>
          <a:p>
            <a:pPr defTabSz="746637" eaLnBrk="0" hangingPunct="0">
              <a:spcBef>
                <a:spcPct val="25000"/>
              </a:spcBef>
              <a:defRPr/>
            </a:pPr>
            <a:r>
              <a:rPr lang="en-US" sz="1219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gray">
          <a:xfrm>
            <a:off x="538939" y="3727245"/>
            <a:ext cx="1093089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54511" tIns="54511" rIns="54511" bIns="54511" anchor="ctr"/>
          <a:lstStyle/>
          <a:p>
            <a:pPr algn="ctr" defTabSz="746637" eaLnBrk="0" hangingPunct="0">
              <a:spcBef>
                <a:spcPct val="25000"/>
              </a:spcBef>
              <a:defRPr/>
            </a:pPr>
            <a:r>
              <a:rPr lang="en-US" sz="1219" b="1" noProof="1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5" name="Rectangle 4"/>
          <p:cNvSpPr>
            <a:spLocks noChangeArrowheads="1"/>
          </p:cNvSpPr>
          <p:nvPr/>
        </p:nvSpPr>
        <p:spPr bwMode="gray">
          <a:xfrm>
            <a:off x="1761813" y="1781747"/>
            <a:ext cx="9411001" cy="55093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783" tIns="54511" rIns="54511" bIns="54511" anchor="ctr"/>
          <a:lstStyle/>
          <a:p>
            <a:pPr defTabSz="746637" eaLnBrk="0" hangingPunct="0">
              <a:spcBef>
                <a:spcPct val="25000"/>
              </a:spcBef>
              <a:defRPr/>
            </a:pPr>
            <a:r>
              <a:rPr lang="en-IN" sz="1219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gray">
          <a:xfrm>
            <a:off x="534971" y="4429942"/>
            <a:ext cx="1093089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54511" tIns="54511" rIns="54511" bIns="54511" anchor="ctr"/>
          <a:lstStyle/>
          <a:p>
            <a:pPr algn="ctr" defTabSz="746637" eaLnBrk="0" hangingPunct="0">
              <a:spcBef>
                <a:spcPct val="25000"/>
              </a:spcBef>
              <a:defRPr/>
            </a:pPr>
            <a:r>
              <a:rPr lang="en-US" sz="1219" b="1" noProof="1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17" name="Rectangle 4"/>
          <p:cNvSpPr>
            <a:spLocks noChangeArrowheads="1"/>
          </p:cNvSpPr>
          <p:nvPr/>
        </p:nvSpPr>
        <p:spPr bwMode="gray">
          <a:xfrm>
            <a:off x="1759507" y="5125741"/>
            <a:ext cx="9411001" cy="55093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783" tIns="54511" rIns="54511" bIns="54511" anchor="ctr"/>
          <a:lstStyle/>
          <a:p>
            <a:pPr defTabSz="746637" eaLnBrk="0" hangingPunct="0">
              <a:spcBef>
                <a:spcPct val="25000"/>
              </a:spcBef>
              <a:defRPr/>
            </a:pPr>
            <a:r>
              <a:rPr lang="en-IN" sz="1219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8" name="Rectangle 17"/>
          <p:cNvSpPr>
            <a:spLocks noChangeArrowheads="1"/>
          </p:cNvSpPr>
          <p:nvPr/>
        </p:nvSpPr>
        <p:spPr bwMode="gray">
          <a:xfrm>
            <a:off x="550897" y="5139320"/>
            <a:ext cx="1093089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54511" tIns="54511" rIns="54511" bIns="54511" anchor="ctr"/>
          <a:lstStyle/>
          <a:p>
            <a:pPr algn="ctr" defTabSz="746637" eaLnBrk="0" hangingPunct="0">
              <a:spcBef>
                <a:spcPct val="25000"/>
              </a:spcBef>
              <a:defRPr/>
            </a:pPr>
            <a:r>
              <a:rPr lang="en-US" sz="1219" b="1" noProof="1">
                <a:solidFill>
                  <a:srgbClr val="FFFFFF"/>
                </a:solidFill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764894420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27635" y="521894"/>
            <a:ext cx="11632606" cy="360363"/>
          </a:xfrm>
        </p:spPr>
        <p:txBody>
          <a:bodyPr/>
          <a:lstStyle>
            <a:lvl1pPr>
              <a:defRPr sz="1788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4"/>
          </p:nvPr>
        </p:nvSpPr>
        <p:spPr>
          <a:xfrm>
            <a:off x="247787" y="167389"/>
            <a:ext cx="4798484" cy="215900"/>
          </a:xfrm>
          <a:ln/>
        </p:spPr>
        <p:txBody>
          <a:bodyPr/>
          <a:lstStyle>
            <a:lvl1pPr>
              <a:defRPr/>
            </a:lvl1pPr>
          </a:lstStyle>
          <a:p>
            <a:endParaRPr lang="en-IN"/>
          </a:p>
        </p:txBody>
      </p:sp>
      <p:sp>
        <p:nvSpPr>
          <p:cNvPr id="8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746683" y="205662"/>
            <a:ext cx="326444" cy="219391"/>
          </a:xfrm>
          <a:prstGeom prst="rect">
            <a:avLst/>
          </a:prstGeom>
        </p:spPr>
        <p:txBody>
          <a:bodyPr vert="horz" lIns="0" tIns="44098" rIns="69446" bIns="44098" rtlCol="0" anchor="ctr"/>
          <a:lstStyle>
            <a:lvl1pPr algn="l">
              <a:defRPr sz="813" b="1">
                <a:solidFill>
                  <a:schemeClr val="bg1"/>
                </a:solidFill>
                <a:latin typeface="+mn-lt"/>
              </a:defRPr>
            </a:lvl1pPr>
          </a:lstStyle>
          <a:p>
            <a:fld id="{7C8DA21C-F319-470D-AFEA-38AD1E9E05DF}" type="slidenum">
              <a:rPr lang="en-IN" smtClean="0"/>
              <a:t>‹#›</a:t>
            </a:fld>
            <a:endParaRPr lang="en-IN"/>
          </a:p>
        </p:txBody>
      </p:sp>
      <p:sp>
        <p:nvSpPr>
          <p:cNvPr id="7" name="Rectangle 6"/>
          <p:cNvSpPr/>
          <p:nvPr/>
        </p:nvSpPr>
        <p:spPr>
          <a:xfrm>
            <a:off x="994119" y="1420572"/>
            <a:ext cx="10401367" cy="5121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88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0" name="Oval 25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05217" y="1435743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89">
              <a:defRPr/>
            </a:pPr>
            <a:r>
              <a:rPr lang="en-US" sz="1381" kern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94119" y="2286141"/>
            <a:ext cx="10401367" cy="5555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88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2" name="Oval 260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06433" y="235098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89">
              <a:defRPr/>
            </a:pPr>
            <a:r>
              <a:rPr lang="en-US" sz="1381" kern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3" name="Rectangle 12"/>
          <p:cNvSpPr/>
          <p:nvPr/>
        </p:nvSpPr>
        <p:spPr>
          <a:xfrm>
            <a:off x="994119" y="3195072"/>
            <a:ext cx="10401367" cy="5710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88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4" name="Oval 26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96992" y="3251151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89">
              <a:defRPr/>
            </a:pPr>
            <a:r>
              <a:rPr lang="en-US" sz="1381" ker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5" name="Rectangle 14"/>
          <p:cNvSpPr/>
          <p:nvPr/>
        </p:nvSpPr>
        <p:spPr>
          <a:xfrm>
            <a:off x="994119" y="4119517"/>
            <a:ext cx="10401367" cy="5439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88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6" name="Oval 26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14928" y="415521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89">
              <a:defRPr/>
            </a:pPr>
            <a:r>
              <a:rPr lang="en-US" sz="1381" kern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7" name="Rectangle 16"/>
          <p:cNvSpPr/>
          <p:nvPr/>
        </p:nvSpPr>
        <p:spPr>
          <a:xfrm>
            <a:off x="994119" y="5016841"/>
            <a:ext cx="10401367" cy="4936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129890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8" name="Oval 26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26209" y="504654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89">
              <a:defRPr/>
            </a:pPr>
            <a:r>
              <a:rPr lang="en-US" sz="1381" kern="0">
                <a:solidFill>
                  <a:srgbClr val="FFFFFF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138143909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124" y="493827"/>
            <a:ext cx="11843810" cy="360363"/>
          </a:xfrm>
        </p:spPr>
        <p:txBody>
          <a:bodyPr/>
          <a:lstStyle>
            <a:lvl1pPr>
              <a:defRPr sz="146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25530" y="1008769"/>
            <a:ext cx="11667569" cy="369887"/>
          </a:xfrm>
        </p:spPr>
        <p:txBody>
          <a:bodyPr/>
          <a:lstStyle>
            <a:lvl1pPr>
              <a:buNone/>
              <a:defRPr sz="1219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3234991" y="1596984"/>
            <a:ext cx="8529600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056"/>
            </a:lvl1pPr>
            <a:lvl2pPr>
              <a:spcBef>
                <a:spcPts val="0"/>
              </a:spcBef>
              <a:defRPr sz="1056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3234991" y="4884939"/>
            <a:ext cx="8529600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056"/>
            </a:lvl1pPr>
            <a:lvl2pPr>
              <a:spcBef>
                <a:spcPts val="0"/>
              </a:spcBef>
              <a:defRPr sz="1056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3234991" y="3240961"/>
            <a:ext cx="8529600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056"/>
            </a:lvl1pPr>
            <a:lvl2pPr>
              <a:spcBef>
                <a:spcPts val="0"/>
              </a:spcBef>
              <a:defRPr sz="1056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jdelijke aanduiding voor afbeelding 12"/>
          <p:cNvSpPr>
            <a:spLocks noGrp="1"/>
          </p:cNvSpPr>
          <p:nvPr>
            <p:ph type="pic" sz="quarter" idx="22"/>
          </p:nvPr>
        </p:nvSpPr>
        <p:spPr>
          <a:xfrm>
            <a:off x="312118" y="1596984"/>
            <a:ext cx="2685029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/>
          </p:cNvSpPr>
          <p:nvPr>
            <p:ph type="pic" sz="quarter" idx="23"/>
          </p:nvPr>
        </p:nvSpPr>
        <p:spPr>
          <a:xfrm>
            <a:off x="295688" y="3240961"/>
            <a:ext cx="2699305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5" name="Tijdelijke aanduiding voor afbeelding 12"/>
          <p:cNvSpPr>
            <a:spLocks noGrp="1"/>
          </p:cNvSpPr>
          <p:nvPr>
            <p:ph type="pic" sz="quarter" idx="24"/>
          </p:nvPr>
        </p:nvSpPr>
        <p:spPr>
          <a:xfrm>
            <a:off x="328545" y="4884939"/>
            <a:ext cx="2666450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C8DA21C-F319-470D-AFEA-38AD1E9E05DF}" type="slidenum">
              <a:rPr lang="en-IN" smtClean="0"/>
              <a:t>‹#›</a:t>
            </a:fld>
            <a:endParaRPr lang="en-IN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ftr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77686296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7" y="844553"/>
            <a:ext cx="11110383" cy="360363"/>
          </a:xfrm>
        </p:spPr>
        <p:txBody>
          <a:bodyPr/>
          <a:lstStyle>
            <a:lvl1pPr>
              <a:defRPr sz="146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37650" y="1513826"/>
            <a:ext cx="11131551" cy="369887"/>
          </a:xfrm>
        </p:spPr>
        <p:txBody>
          <a:bodyPr/>
          <a:lstStyle>
            <a:lvl1pPr>
              <a:buNone/>
              <a:defRPr sz="1219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4339200" y="2088000"/>
            <a:ext cx="7315200" cy="2016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056"/>
            </a:lvl1pPr>
            <a:lvl2pPr>
              <a:spcBef>
                <a:spcPts val="0"/>
              </a:spcBef>
              <a:defRPr sz="1056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4339200" y="4377600"/>
            <a:ext cx="7315200" cy="2016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056"/>
            </a:lvl1pPr>
            <a:lvl2pPr>
              <a:spcBef>
                <a:spcPts val="0"/>
              </a:spcBef>
              <a:defRPr sz="1056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jdelijke aanduiding voor afbeelding 12"/>
          <p:cNvSpPr>
            <a:spLocks noGrp="1" noChangeAspect="1"/>
          </p:cNvSpPr>
          <p:nvPr>
            <p:ph type="pic" sz="quarter" idx="22"/>
          </p:nvPr>
        </p:nvSpPr>
        <p:spPr>
          <a:xfrm>
            <a:off x="539753" y="2088000"/>
            <a:ext cx="3513600" cy="2016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 noChangeAspect="1"/>
          </p:cNvSpPr>
          <p:nvPr>
            <p:ph type="pic" sz="quarter" idx="23"/>
          </p:nvPr>
        </p:nvSpPr>
        <p:spPr>
          <a:xfrm>
            <a:off x="537601" y="4377600"/>
            <a:ext cx="3513600" cy="2016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C8DA21C-F319-470D-AFEA-38AD1E9E05DF}" type="slidenum">
              <a:rPr lang="en-IN" smtClean="0"/>
              <a:t>‹#›</a:t>
            </a:fld>
            <a:endParaRPr lang="en-IN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ftr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31482874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9771" y="521889"/>
            <a:ext cx="11698313" cy="360363"/>
          </a:xfrm>
        </p:spPr>
        <p:txBody>
          <a:bodyPr/>
          <a:lstStyle>
            <a:lvl1pPr>
              <a:defRPr sz="146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443530" y="1919652"/>
            <a:ext cx="560158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056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6387780" y="1919652"/>
            <a:ext cx="5538105" cy="360000"/>
          </a:xfrm>
          <a:solidFill>
            <a:schemeClr val="accent5">
              <a:lumMod val="60000"/>
              <a:lumOff val="40000"/>
            </a:schemeClr>
          </a:solidFill>
        </p:spPr>
        <p:txBody>
          <a:bodyPr lIns="179967" anchor="ctr"/>
          <a:lstStyle>
            <a:lvl1pPr marL="0" indent="0">
              <a:spcBef>
                <a:spcPts val="0"/>
              </a:spcBef>
              <a:buNone/>
              <a:defRPr sz="1056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74806" y="1050879"/>
            <a:ext cx="11716850" cy="369887"/>
          </a:xfrm>
        </p:spPr>
        <p:txBody>
          <a:bodyPr/>
          <a:lstStyle>
            <a:lvl1pPr>
              <a:buNone/>
              <a:defRPr sz="1219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443530" y="2261652"/>
            <a:ext cx="5601580" cy="3927600"/>
          </a:xfrm>
        </p:spPr>
        <p:txBody>
          <a:bodyPr/>
          <a:lstStyle>
            <a:lvl1pPr>
              <a:defRPr sz="1056"/>
            </a:lvl1pPr>
            <a:lvl2pPr>
              <a:defRPr sz="1056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6387845" y="2261652"/>
            <a:ext cx="5538105" cy="3927600"/>
          </a:xfrm>
        </p:spPr>
        <p:txBody>
          <a:bodyPr/>
          <a:lstStyle>
            <a:lvl1pPr>
              <a:defRPr sz="1056"/>
            </a:lvl1pPr>
            <a:lvl2pPr>
              <a:defRPr sz="1056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C8DA21C-F319-470D-AFEA-38AD1E9E05DF}" type="slidenum">
              <a:rPr lang="en-IN" smtClean="0"/>
              <a:t>‹#›</a:t>
            </a:fld>
            <a:endParaRPr lang="en-IN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ftr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00909005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7" y="844553"/>
            <a:ext cx="11110383" cy="360363"/>
          </a:xfrm>
        </p:spPr>
        <p:txBody>
          <a:bodyPr/>
          <a:lstStyle>
            <a:lvl1pPr>
              <a:defRPr sz="146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537601" y="2088000"/>
            <a:ext cx="35136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056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4344000" y="2088000"/>
            <a:ext cx="3513600" cy="360000"/>
          </a:xfrm>
          <a:solidFill>
            <a:schemeClr val="bg1">
              <a:lumMod val="85000"/>
            </a:schemeClr>
          </a:solidFill>
        </p:spPr>
        <p:txBody>
          <a:bodyPr lIns="179967" anchor="ctr"/>
          <a:lstStyle>
            <a:lvl1pPr marL="0" indent="0">
              <a:spcBef>
                <a:spcPts val="0"/>
              </a:spcBef>
              <a:buNone/>
              <a:defRPr sz="1056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37650" y="1513826"/>
            <a:ext cx="11131551" cy="369887"/>
          </a:xfrm>
        </p:spPr>
        <p:txBody>
          <a:bodyPr/>
          <a:lstStyle>
            <a:lvl1pPr>
              <a:buNone/>
              <a:defRPr sz="1219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ijdelijke aanduiding voor tekst 15"/>
          <p:cNvSpPr>
            <a:spLocks noGrp="1"/>
          </p:cNvSpPr>
          <p:nvPr>
            <p:ph type="body" sz="quarter" idx="18"/>
          </p:nvPr>
        </p:nvSpPr>
        <p:spPr>
          <a:xfrm>
            <a:off x="8136001" y="2088000"/>
            <a:ext cx="35136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>
              <a:spcBef>
                <a:spcPts val="0"/>
              </a:spcBef>
              <a:buNone/>
              <a:defRPr sz="1056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537601" y="2430000"/>
            <a:ext cx="3513600" cy="3927600"/>
          </a:xfrm>
        </p:spPr>
        <p:txBody>
          <a:bodyPr/>
          <a:lstStyle>
            <a:lvl1pPr>
              <a:defRPr sz="1056"/>
            </a:lvl1pPr>
            <a:lvl2pPr>
              <a:defRPr sz="1056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4344000" y="2430000"/>
            <a:ext cx="3513600" cy="3927600"/>
          </a:xfrm>
        </p:spPr>
        <p:txBody>
          <a:bodyPr/>
          <a:lstStyle>
            <a:lvl1pPr>
              <a:defRPr sz="1056"/>
            </a:lvl1pPr>
            <a:lvl2pPr>
              <a:defRPr sz="1056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8136001" y="2430000"/>
            <a:ext cx="3513600" cy="3927600"/>
          </a:xfrm>
        </p:spPr>
        <p:txBody>
          <a:bodyPr/>
          <a:lstStyle>
            <a:lvl1pPr>
              <a:defRPr sz="1056"/>
            </a:lvl1pPr>
            <a:lvl2pPr>
              <a:defRPr sz="1056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C8DA21C-F319-470D-AFEA-38AD1E9E05DF}" type="slidenum">
              <a:rPr lang="en-IN" smtClean="0"/>
              <a:t>‹#›</a:t>
            </a:fld>
            <a:endParaRPr lang="en-IN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ftr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87599524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7" y="844553"/>
            <a:ext cx="11110383" cy="360363"/>
          </a:xfrm>
        </p:spPr>
        <p:txBody>
          <a:bodyPr/>
          <a:lstStyle>
            <a:lvl1pPr>
              <a:defRPr sz="146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537603" y="2088000"/>
            <a:ext cx="11112533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056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37650" y="1513826"/>
            <a:ext cx="11131551" cy="369887"/>
          </a:xfrm>
        </p:spPr>
        <p:txBody>
          <a:bodyPr/>
          <a:lstStyle>
            <a:lvl1pPr>
              <a:buNone/>
              <a:defRPr sz="1219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ijdelijke aanduiding voor tekst 10"/>
          <p:cNvSpPr>
            <a:spLocks noGrp="1"/>
          </p:cNvSpPr>
          <p:nvPr>
            <p:ph type="body" sz="quarter" idx="18"/>
          </p:nvPr>
        </p:nvSpPr>
        <p:spPr>
          <a:xfrm>
            <a:off x="537607" y="2448000"/>
            <a:ext cx="11112500" cy="957600"/>
          </a:xfrm>
        </p:spPr>
        <p:txBody>
          <a:bodyPr/>
          <a:lstStyle>
            <a:lvl1pPr>
              <a:spcBef>
                <a:spcPts val="0"/>
              </a:spcBef>
              <a:defRPr sz="1056"/>
            </a:lvl1pPr>
            <a:lvl2pPr>
              <a:spcBef>
                <a:spcPts val="0"/>
              </a:spcBef>
              <a:defRPr sz="1056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ijdelijke aanduiding voor tekst 10"/>
          <p:cNvSpPr>
            <a:spLocks noGrp="1"/>
          </p:cNvSpPr>
          <p:nvPr>
            <p:ph type="body" sz="quarter" idx="19"/>
          </p:nvPr>
        </p:nvSpPr>
        <p:spPr>
          <a:xfrm>
            <a:off x="537639" y="3913200"/>
            <a:ext cx="11112500" cy="957600"/>
          </a:xfrm>
        </p:spPr>
        <p:txBody>
          <a:bodyPr/>
          <a:lstStyle>
            <a:lvl1pPr>
              <a:spcBef>
                <a:spcPts val="0"/>
              </a:spcBef>
              <a:defRPr sz="1056"/>
            </a:lvl1pPr>
            <a:lvl2pPr>
              <a:spcBef>
                <a:spcPts val="0"/>
              </a:spcBef>
              <a:defRPr sz="1056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ijdelijke aanduiding voor tekst 10"/>
          <p:cNvSpPr>
            <a:spLocks noGrp="1"/>
          </p:cNvSpPr>
          <p:nvPr>
            <p:ph type="body" sz="quarter" idx="20"/>
          </p:nvPr>
        </p:nvSpPr>
        <p:spPr>
          <a:xfrm>
            <a:off x="537639" y="5382000"/>
            <a:ext cx="11112500" cy="957600"/>
          </a:xfrm>
        </p:spPr>
        <p:txBody>
          <a:bodyPr/>
          <a:lstStyle>
            <a:lvl1pPr>
              <a:spcBef>
                <a:spcPts val="0"/>
              </a:spcBef>
              <a:defRPr sz="1056"/>
            </a:lvl1pPr>
            <a:lvl2pPr>
              <a:spcBef>
                <a:spcPts val="0"/>
              </a:spcBef>
              <a:defRPr sz="1056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ijdelijke aanduiding voor tekst 15"/>
          <p:cNvSpPr>
            <a:spLocks noGrp="1"/>
          </p:cNvSpPr>
          <p:nvPr>
            <p:ph type="body" sz="quarter" idx="21"/>
          </p:nvPr>
        </p:nvSpPr>
        <p:spPr>
          <a:xfrm>
            <a:off x="537603" y="3553200"/>
            <a:ext cx="11112533" cy="360000"/>
          </a:xfrm>
          <a:solidFill>
            <a:schemeClr val="bg1">
              <a:lumMod val="85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056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ijdelijke aanduiding voor tekst 15"/>
          <p:cNvSpPr>
            <a:spLocks noGrp="1"/>
          </p:cNvSpPr>
          <p:nvPr>
            <p:ph type="body" sz="quarter" idx="22"/>
          </p:nvPr>
        </p:nvSpPr>
        <p:spPr>
          <a:xfrm>
            <a:off x="537636" y="5022000"/>
            <a:ext cx="11112533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056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C8DA21C-F319-470D-AFEA-38AD1E9E05DF}" type="slidenum">
              <a:rPr lang="en-IN" smtClean="0"/>
              <a:t>‹#›</a:t>
            </a:fld>
            <a:endParaRPr lang="en-IN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ftr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55429224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3" descr="TG_BM_RGB"/>
          <p:cNvPicPr>
            <a:picLocks noChangeAspect="1" noChangeArrowheads="1"/>
          </p:cNvPicPr>
          <p:nvPr/>
        </p:nvPicPr>
        <p:blipFill>
          <a:blip r:embed="rId2" cstate="print"/>
          <a:srcRect l="9850" t="10782" r="9810" b="10782"/>
          <a:stretch>
            <a:fillRect/>
          </a:stretch>
        </p:blipFill>
        <p:spPr bwMode="auto">
          <a:xfrm>
            <a:off x="11391902" y="74614"/>
            <a:ext cx="654050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3" descr="TS_BM_RGB"/>
          <p:cNvPicPr>
            <a:picLocks noChangeAspect="1" noChangeArrowheads="1"/>
          </p:cNvPicPr>
          <p:nvPr/>
        </p:nvPicPr>
        <p:blipFill>
          <a:blip r:embed="rId3" cstate="print"/>
          <a:srcRect l="9319" t="32796" r="9198" b="31863"/>
          <a:stretch>
            <a:fillRect/>
          </a:stretch>
        </p:blipFill>
        <p:spPr bwMode="auto">
          <a:xfrm>
            <a:off x="188387" y="6608797"/>
            <a:ext cx="1460501" cy="141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6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7141684" y="9"/>
            <a:ext cx="3530601" cy="296862"/>
          </a:xfrm>
          <a:prstGeom prst="rect">
            <a:avLst/>
          </a:prstGeom>
        </p:spPr>
        <p:txBody>
          <a:bodyPr lIns="83426" tIns="41714" rIns="83426" bIns="41714"/>
          <a:lstStyle>
            <a:lvl1pPr marL="0" indent="0">
              <a:buNone/>
              <a:defRPr sz="894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4"/>
          </p:nvPr>
        </p:nvSpPr>
        <p:spPr>
          <a:xfrm>
            <a:off x="9825570" y="6475416"/>
            <a:ext cx="1411817" cy="107950"/>
          </a:xfrm>
          <a:prstGeom prst="rect">
            <a:avLst/>
          </a:prstGeom>
        </p:spPr>
        <p:txBody>
          <a:bodyPr lIns="84479" tIns="42239" rIns="84479" bIns="42239"/>
          <a:lstStyle>
            <a:lvl1pPr>
              <a:defRPr/>
            </a:lvl1pPr>
          </a:lstStyle>
          <a:p>
            <a:endParaRPr lang="en-IN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IN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7C8DA21C-F319-470D-AFEA-38AD1E9E05D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20858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8" y="167389"/>
            <a:ext cx="670982" cy="215900"/>
          </a:xfrm>
          <a:prstGeom prst="rect">
            <a:avLst/>
          </a:prstGeom>
        </p:spPr>
        <p:txBody>
          <a:bodyPr lIns="91436" tIns="45718" rIns="91436" bIns="45718"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472709" y="1562376"/>
            <a:ext cx="2007593" cy="4761570"/>
            <a:chOff x="404813" y="1566716"/>
            <a:chExt cx="1719262" cy="4774796"/>
          </a:xfrm>
        </p:grpSpPr>
        <p:sp>
          <p:nvSpPr>
            <p:cNvPr id="6" name="Rectangle 5"/>
            <p:cNvSpPr>
              <a:spLocks noChangeArrowheads="1"/>
            </p:cNvSpPr>
            <p:nvPr/>
          </p:nvSpPr>
          <p:spPr bwMode="gray">
            <a:xfrm>
              <a:off x="404813" y="1566716"/>
              <a:ext cx="1719262" cy="968375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23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00" b="1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7" name="Rectangle 6"/>
            <p:cNvSpPr>
              <a:spLocks noChangeArrowheads="1"/>
            </p:cNvSpPr>
            <p:nvPr/>
          </p:nvSpPr>
          <p:spPr bwMode="gray">
            <a:xfrm>
              <a:off x="404813" y="2836581"/>
              <a:ext cx="1719262" cy="966788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74062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500" b="1">
                  <a:solidFill>
                    <a:srgbClr val="000000"/>
                  </a:solidFill>
                  <a:ea typeface="ＭＳ Ｐゴシック" pitchFamily="34" charset="-128"/>
                </a:rPr>
                <a:t>Text</a:t>
              </a:r>
            </a:p>
          </p:txBody>
        </p:sp>
        <p:sp>
          <p:nvSpPr>
            <p:cNvPr id="8" name="Rectangle 7"/>
            <p:cNvSpPr>
              <a:spLocks noChangeArrowheads="1"/>
            </p:cNvSpPr>
            <p:nvPr/>
          </p:nvSpPr>
          <p:spPr bwMode="gray">
            <a:xfrm>
              <a:off x="404813" y="4104859"/>
              <a:ext cx="1719262" cy="966787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23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00" b="1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gray">
            <a:xfrm>
              <a:off x="404813" y="5373137"/>
              <a:ext cx="1719262" cy="96837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23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00" b="1">
                  <a:solidFill>
                    <a:srgbClr val="000000"/>
                  </a:solidFill>
                </a:rPr>
                <a:t>Text</a:t>
              </a:r>
            </a:p>
          </p:txBody>
        </p:sp>
      </p:grpSp>
      <p:sp>
        <p:nvSpPr>
          <p:cNvPr id="10" name="AutoShape 9"/>
          <p:cNvSpPr>
            <a:spLocks noChangeArrowheads="1"/>
          </p:cNvSpPr>
          <p:nvPr userDrawn="1"/>
        </p:nvSpPr>
        <p:spPr bwMode="gray">
          <a:xfrm rot="5400000" flipV="1">
            <a:off x="1340148" y="2447263"/>
            <a:ext cx="310288" cy="420798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99320" tIns="0" rIns="0" bIns="0" anchor="ctr"/>
          <a:lstStyle/>
          <a:p>
            <a:pPr algn="ctr" defTabSz="91423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800" noProof="1">
              <a:solidFill>
                <a:srgbClr val="000000"/>
              </a:solidFill>
            </a:endParaRPr>
          </a:p>
        </p:txBody>
      </p:sp>
      <p:sp>
        <p:nvSpPr>
          <p:cNvPr id="11" name="AutoShape 9"/>
          <p:cNvSpPr>
            <a:spLocks noChangeArrowheads="1"/>
          </p:cNvSpPr>
          <p:nvPr userDrawn="1"/>
        </p:nvSpPr>
        <p:spPr bwMode="gray">
          <a:xfrm rot="5400000" flipV="1">
            <a:off x="1340148" y="3752896"/>
            <a:ext cx="310288" cy="420798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99320" tIns="0" rIns="0" bIns="0" anchor="ctr"/>
          <a:lstStyle/>
          <a:p>
            <a:pPr algn="ctr" defTabSz="91423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800" noProof="1">
              <a:solidFill>
                <a:srgbClr val="000000"/>
              </a:solidFill>
            </a:endParaRPr>
          </a:p>
        </p:txBody>
      </p:sp>
      <p:sp>
        <p:nvSpPr>
          <p:cNvPr id="12" name="AutoShape 9"/>
          <p:cNvSpPr>
            <a:spLocks noChangeArrowheads="1"/>
          </p:cNvSpPr>
          <p:nvPr userDrawn="1"/>
        </p:nvSpPr>
        <p:spPr bwMode="gray">
          <a:xfrm rot="5400000" flipV="1">
            <a:off x="1340148" y="5004242"/>
            <a:ext cx="310288" cy="420798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99320" tIns="0" rIns="0" bIns="0" anchor="ctr"/>
          <a:lstStyle/>
          <a:p>
            <a:pPr algn="ctr" defTabSz="91423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800" noProof="1">
              <a:solidFill>
                <a:srgbClr val="000000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526762" y="1522946"/>
            <a:ext cx="9087087" cy="1008623"/>
          </a:xfrm>
          <a:prstGeom prst="rect">
            <a:avLst/>
          </a:prstGeom>
          <a:noFill/>
          <a:ln>
            <a:noFill/>
          </a:ln>
        </p:spPr>
        <p:txBody>
          <a:bodyPr wrap="square" lIns="84466" tIns="42234" rIns="84466" bIns="42234" rtlCol="0">
            <a:spAutoFit/>
          </a:bodyPr>
          <a:lstStyle/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2526762" y="2773690"/>
            <a:ext cx="9087087" cy="1008623"/>
          </a:xfrm>
          <a:prstGeom prst="rect">
            <a:avLst/>
          </a:prstGeom>
          <a:noFill/>
          <a:ln>
            <a:noFill/>
          </a:ln>
        </p:spPr>
        <p:txBody>
          <a:bodyPr wrap="square" lIns="84466" tIns="42234" rIns="84466" bIns="42234" rtlCol="0">
            <a:spAutoFit/>
          </a:bodyPr>
          <a:lstStyle/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526762" y="5277886"/>
            <a:ext cx="9087087" cy="1008623"/>
          </a:xfrm>
          <a:prstGeom prst="rect">
            <a:avLst/>
          </a:prstGeom>
          <a:noFill/>
          <a:ln>
            <a:noFill/>
          </a:ln>
        </p:spPr>
        <p:txBody>
          <a:bodyPr wrap="square" lIns="84466" tIns="42234" rIns="84466" bIns="42234" rtlCol="0">
            <a:spAutoFit/>
          </a:bodyPr>
          <a:lstStyle/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2526762" y="4023351"/>
            <a:ext cx="9087087" cy="1008623"/>
          </a:xfrm>
          <a:prstGeom prst="rect">
            <a:avLst/>
          </a:prstGeom>
          <a:noFill/>
          <a:ln>
            <a:noFill/>
          </a:ln>
        </p:spPr>
        <p:txBody>
          <a:bodyPr wrap="square" lIns="84466" tIns="42234" rIns="84466" bIns="42234" rtlCol="0">
            <a:spAutoFit/>
          </a:bodyPr>
          <a:lstStyle/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7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6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876" indent="-179959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274781136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8DA21C-F319-470D-AFEA-38AD1E9E05DF}" type="slidenum">
              <a:rPr lang="en-IN" smtClean="0"/>
              <a:t>‹#›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grpSp>
        <p:nvGrpSpPr>
          <p:cNvPr id="5" name="Group 4"/>
          <p:cNvGrpSpPr/>
          <p:nvPr/>
        </p:nvGrpSpPr>
        <p:grpSpPr>
          <a:xfrm>
            <a:off x="472708" y="1562378"/>
            <a:ext cx="2007593" cy="4761569"/>
            <a:chOff x="404813" y="1566716"/>
            <a:chExt cx="1719262" cy="4774796"/>
          </a:xfrm>
        </p:grpSpPr>
        <p:sp>
          <p:nvSpPr>
            <p:cNvPr id="6" name="Rectangle 5"/>
            <p:cNvSpPr>
              <a:spLocks noChangeArrowheads="1"/>
            </p:cNvSpPr>
            <p:nvPr/>
          </p:nvSpPr>
          <p:spPr bwMode="gray">
            <a:xfrm>
              <a:off x="404813" y="1566716"/>
              <a:ext cx="1719262" cy="968375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74284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56" b="1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7" name="Rectangle 6"/>
            <p:cNvSpPr>
              <a:spLocks noChangeArrowheads="1"/>
            </p:cNvSpPr>
            <p:nvPr/>
          </p:nvSpPr>
          <p:spPr bwMode="gray">
            <a:xfrm>
              <a:off x="404813" y="2836581"/>
              <a:ext cx="1719262" cy="966788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601782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19" b="1">
                  <a:solidFill>
                    <a:srgbClr val="000000"/>
                  </a:solidFill>
                  <a:ea typeface="ＭＳ Ｐゴシック" pitchFamily="34" charset="-128"/>
                </a:rPr>
                <a:t>Text</a:t>
              </a:r>
            </a:p>
          </p:txBody>
        </p:sp>
        <p:sp>
          <p:nvSpPr>
            <p:cNvPr id="8" name="Rectangle 7"/>
            <p:cNvSpPr>
              <a:spLocks noChangeArrowheads="1"/>
            </p:cNvSpPr>
            <p:nvPr/>
          </p:nvSpPr>
          <p:spPr bwMode="gray">
            <a:xfrm>
              <a:off x="404813" y="4104859"/>
              <a:ext cx="1719262" cy="966787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74284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56" b="1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gray">
            <a:xfrm>
              <a:off x="404813" y="5373137"/>
              <a:ext cx="1719262" cy="96837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74284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56" b="1">
                  <a:solidFill>
                    <a:srgbClr val="000000"/>
                  </a:solidFill>
                </a:rPr>
                <a:t>Text</a:t>
              </a:r>
            </a:p>
          </p:txBody>
        </p:sp>
      </p:grpSp>
      <p:sp>
        <p:nvSpPr>
          <p:cNvPr id="10" name="AutoShape 9"/>
          <p:cNvSpPr>
            <a:spLocks noChangeArrowheads="1"/>
          </p:cNvSpPr>
          <p:nvPr/>
        </p:nvSpPr>
        <p:spPr bwMode="gray">
          <a:xfrm rot="5400000" flipV="1">
            <a:off x="1340148" y="2447264"/>
            <a:ext cx="310288" cy="420798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43208" tIns="0" rIns="0" bIns="0" anchor="ctr"/>
          <a:lstStyle/>
          <a:p>
            <a:pPr algn="ctr" defTabSz="74284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463" noProof="1">
              <a:solidFill>
                <a:srgbClr val="000000"/>
              </a:solidFill>
            </a:endParaRPr>
          </a:p>
        </p:txBody>
      </p:sp>
      <p:sp>
        <p:nvSpPr>
          <p:cNvPr id="11" name="AutoShape 9"/>
          <p:cNvSpPr>
            <a:spLocks noChangeArrowheads="1"/>
          </p:cNvSpPr>
          <p:nvPr/>
        </p:nvSpPr>
        <p:spPr bwMode="gray">
          <a:xfrm rot="5400000" flipV="1">
            <a:off x="1340148" y="3752895"/>
            <a:ext cx="310288" cy="420798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43208" tIns="0" rIns="0" bIns="0" anchor="ctr"/>
          <a:lstStyle/>
          <a:p>
            <a:pPr algn="ctr" defTabSz="74284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463" noProof="1">
              <a:solidFill>
                <a:srgbClr val="000000"/>
              </a:solidFill>
            </a:endParaRPr>
          </a:p>
        </p:txBody>
      </p:sp>
      <p:sp>
        <p:nvSpPr>
          <p:cNvPr id="12" name="AutoShape 9"/>
          <p:cNvSpPr>
            <a:spLocks noChangeArrowheads="1"/>
          </p:cNvSpPr>
          <p:nvPr/>
        </p:nvSpPr>
        <p:spPr bwMode="gray">
          <a:xfrm rot="5400000" flipV="1">
            <a:off x="1340148" y="5004242"/>
            <a:ext cx="310288" cy="420798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43208" tIns="0" rIns="0" bIns="0" anchor="ctr"/>
          <a:lstStyle/>
          <a:p>
            <a:pPr algn="ctr" defTabSz="74284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463" noProof="1">
              <a:solidFill>
                <a:srgbClr val="00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526763" y="1522946"/>
            <a:ext cx="9087087" cy="835759"/>
          </a:xfrm>
          <a:prstGeom prst="rect">
            <a:avLst/>
          </a:prstGeom>
          <a:noFill/>
          <a:ln>
            <a:noFill/>
          </a:ln>
        </p:spPr>
        <p:txBody>
          <a:bodyPr wrap="square" lIns="68631" tIns="34317" rIns="68631" bIns="34317" rtlCol="0">
            <a:spAutoFit/>
          </a:bodyPr>
          <a:lstStyle/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526763" y="2773691"/>
            <a:ext cx="9087087" cy="835759"/>
          </a:xfrm>
          <a:prstGeom prst="rect">
            <a:avLst/>
          </a:prstGeom>
          <a:noFill/>
          <a:ln>
            <a:noFill/>
          </a:ln>
        </p:spPr>
        <p:txBody>
          <a:bodyPr wrap="square" lIns="68631" tIns="34317" rIns="68631" bIns="34317" rtlCol="0">
            <a:spAutoFit/>
          </a:bodyPr>
          <a:lstStyle/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526763" y="5277887"/>
            <a:ext cx="9087087" cy="835759"/>
          </a:xfrm>
          <a:prstGeom prst="rect">
            <a:avLst/>
          </a:prstGeom>
          <a:noFill/>
          <a:ln>
            <a:noFill/>
          </a:ln>
        </p:spPr>
        <p:txBody>
          <a:bodyPr wrap="square" lIns="68631" tIns="34317" rIns="68631" bIns="34317" rtlCol="0">
            <a:spAutoFit/>
          </a:bodyPr>
          <a:lstStyle/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526763" y="4023353"/>
            <a:ext cx="9087087" cy="835759"/>
          </a:xfrm>
          <a:prstGeom prst="rect">
            <a:avLst/>
          </a:prstGeom>
          <a:noFill/>
          <a:ln>
            <a:noFill/>
          </a:ln>
        </p:spPr>
        <p:txBody>
          <a:bodyPr wrap="square" lIns="68631" tIns="34317" rIns="68631" bIns="34317" rtlCol="0">
            <a:spAutoFit/>
          </a:bodyPr>
          <a:lstStyle/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7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7"/>
            <a:ext cx="11761676" cy="434891"/>
          </a:xfrm>
        </p:spPr>
        <p:txBody>
          <a:bodyPr/>
          <a:lstStyle>
            <a:lvl1pPr marL="0" indent="0">
              <a:buNone/>
              <a:defRPr sz="1219" b="1">
                <a:latin typeface="Arial" pitchFamily="34" charset="0"/>
                <a:cs typeface="Arial" pitchFamily="34" charset="0"/>
              </a:defRPr>
            </a:lvl1pPr>
            <a:lvl2pPr>
              <a:defRPr sz="1056">
                <a:latin typeface="Arial" pitchFamily="34" charset="0"/>
                <a:cs typeface="Arial" pitchFamily="34" charset="0"/>
              </a:defRPr>
            </a:lvl2pPr>
            <a:lvl3pPr marL="438669" indent="-146223">
              <a:buClr>
                <a:schemeClr val="tx2"/>
              </a:buClr>
              <a:buFont typeface="Wingdings" pitchFamily="2" charset="2"/>
              <a:buChar char="§"/>
              <a:defRPr sz="89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429029448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8DA21C-F319-470D-AFEA-38AD1E9E05DF}" type="slidenum">
              <a:rPr lang="en-IN" smtClean="0"/>
              <a:t>‹#›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436024" y="1363807"/>
          <a:ext cx="11094066" cy="5185395"/>
        </p:xfrm>
        <a:graphic>
          <a:graphicData uri="http://schemas.openxmlformats.org/drawingml/2006/table">
            <a:tbl>
              <a:tblPr firstRow="1"/>
              <a:tblGrid>
                <a:gridCol w="4181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592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06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136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5731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5731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IN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N</a:t>
                      </a:r>
                      <a:endParaRPr lang="en-US" sz="1400" b="1" i="0" u="none" strike="noStrike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Area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kern="1200" cap="all">
                          <a:solidFill>
                            <a:srgbClr val="31A93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</a:t>
                      </a:r>
                      <a:endParaRPr lang="en-US" sz="1900" kern="1200">
                        <a:solidFill>
                          <a:srgbClr val="31A93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en-IN" sz="1400" b="1">
                          <a:solidFill>
                            <a:srgbClr val="FF0000"/>
                          </a:solidFill>
                        </a:rPr>
                        <a:t>X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9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1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3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4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7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7"/>
            <a:ext cx="11761676" cy="434891"/>
          </a:xfrm>
        </p:spPr>
        <p:txBody>
          <a:bodyPr/>
          <a:lstStyle>
            <a:lvl1pPr marL="0" indent="0">
              <a:buNone/>
              <a:defRPr sz="1219" b="1">
                <a:latin typeface="Arial" pitchFamily="34" charset="0"/>
                <a:cs typeface="Arial" pitchFamily="34" charset="0"/>
              </a:defRPr>
            </a:lvl1pPr>
            <a:lvl2pPr>
              <a:defRPr sz="1056">
                <a:latin typeface="Arial" pitchFamily="34" charset="0"/>
                <a:cs typeface="Arial" pitchFamily="34" charset="0"/>
              </a:defRPr>
            </a:lvl2pPr>
            <a:lvl3pPr marL="438669" indent="-146223">
              <a:buClr>
                <a:schemeClr val="tx2"/>
              </a:buClr>
              <a:buFont typeface="Wingdings" pitchFamily="2" charset="2"/>
              <a:buChar char="§"/>
              <a:defRPr sz="89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430159941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8DA21C-F319-470D-AFEA-38AD1E9E05DF}" type="slidenum">
              <a:rPr lang="en-IN" smtClean="0"/>
              <a:t>‹#›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7" name="Rectangle 16"/>
          <p:cNvSpPr/>
          <p:nvPr/>
        </p:nvSpPr>
        <p:spPr>
          <a:xfrm>
            <a:off x="1886075" y="2701587"/>
            <a:ext cx="1408889" cy="54477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639" tIns="34319" rIns="68639" bIns="34319" rtlCol="0" anchor="ctr"/>
          <a:lstStyle/>
          <a:p>
            <a:pPr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246674" y="3336695"/>
            <a:ext cx="1408889" cy="808088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639" tIns="34319" rIns="68639" bIns="34319" rtlCol="0" anchor="ctr"/>
          <a:lstStyle/>
          <a:p>
            <a:pPr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612534" y="4354209"/>
            <a:ext cx="1408889" cy="201922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639" tIns="34319" rIns="68639" bIns="34319" rtlCol="0" anchor="ctr"/>
          <a:lstStyle/>
          <a:p>
            <a:pPr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0" name="Rectangle 19"/>
          <p:cNvSpPr/>
          <p:nvPr/>
        </p:nvSpPr>
        <p:spPr>
          <a:xfrm>
            <a:off x="525460" y="1492844"/>
            <a:ext cx="11221609" cy="308998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639" tIns="34319" rIns="68639" bIns="34319" rtlCol="0" anchor="ctr"/>
          <a:lstStyle/>
          <a:p>
            <a:pPr algn="ctr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463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1" name="Bent-Up Arrow 20"/>
          <p:cNvSpPr/>
          <p:nvPr/>
        </p:nvSpPr>
        <p:spPr>
          <a:xfrm rot="5400000">
            <a:off x="3379880" y="4018558"/>
            <a:ext cx="1099463" cy="1365860"/>
          </a:xfrm>
          <a:prstGeom prst="bentUpArrow">
            <a:avLst>
              <a:gd name="adj1" fmla="val 25000"/>
              <a:gd name="adj2" fmla="val 2589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639" tIns="34319" rIns="68639" bIns="34319" rtlCol="0" anchor="ctr"/>
          <a:lstStyle/>
          <a:p>
            <a:pPr algn="ctr" defTabSz="742845" fontAlgn="base">
              <a:spcBef>
                <a:spcPct val="0"/>
              </a:spcBef>
              <a:spcAft>
                <a:spcPct val="0"/>
              </a:spcAft>
            </a:pPr>
            <a:endParaRPr lang="en-IN" sz="1463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941770" y="1950388"/>
            <a:ext cx="9733391" cy="58047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639" tIns="34319" rIns="68639" bIns="34319" rtlCol="0" anchor="t" anchorCtr="0"/>
          <a:lstStyle/>
          <a:p>
            <a:pPr marL="128698" indent="-128698" defTabSz="742845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894">
                <a:solidFill>
                  <a:srgbClr val="000000"/>
                </a:solidFill>
              </a:rPr>
              <a:t>Text</a:t>
            </a:r>
          </a:p>
          <a:p>
            <a:pPr marL="128698" indent="-128698" defTabSz="742845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894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3" name="Rectangle 22"/>
          <p:cNvSpPr/>
          <p:nvPr/>
        </p:nvSpPr>
        <p:spPr>
          <a:xfrm>
            <a:off x="3252287" y="2701608"/>
            <a:ext cx="8422873" cy="54620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639" tIns="34319" rIns="68639" bIns="34319" rtlCol="0" anchor="t" anchorCtr="0"/>
          <a:lstStyle/>
          <a:p>
            <a:pPr marL="128698" indent="-128698" defTabSz="742845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894">
                <a:solidFill>
                  <a:srgbClr val="000000"/>
                </a:solidFill>
              </a:rPr>
              <a:t> </a:t>
            </a:r>
          </a:p>
          <a:p>
            <a:pPr marL="128698" indent="-128698" defTabSz="742845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endParaRPr lang="en-IN" sz="894">
              <a:solidFill>
                <a:srgbClr val="000000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667155" y="3336698"/>
            <a:ext cx="7008014" cy="80751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639" tIns="34319" rIns="68639" bIns="34319" rtlCol="0" anchor="t" anchorCtr="0"/>
          <a:lstStyle/>
          <a:p>
            <a:pPr marL="128698" indent="-128698" defTabSz="742845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894">
                <a:solidFill>
                  <a:srgbClr val="000000"/>
                </a:solidFill>
              </a:rPr>
              <a:t>Text </a:t>
            </a:r>
          </a:p>
        </p:txBody>
      </p:sp>
      <p:sp>
        <p:nvSpPr>
          <p:cNvPr id="25" name="Rectangle 24"/>
          <p:cNvSpPr/>
          <p:nvPr/>
        </p:nvSpPr>
        <p:spPr>
          <a:xfrm>
            <a:off x="6061769" y="4354210"/>
            <a:ext cx="5613409" cy="201922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639" tIns="34319" rIns="68639" bIns="34319" rtlCol="0" anchor="t" anchorCtr="0"/>
          <a:lstStyle/>
          <a:p>
            <a:pPr marL="128698" indent="-128698" defTabSz="742845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894">
                <a:solidFill>
                  <a:srgbClr val="000000"/>
                </a:solidFill>
              </a:rPr>
              <a:t>Text </a:t>
            </a:r>
          </a:p>
          <a:p>
            <a:pPr marL="128698" indent="-128698" defTabSz="742845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endParaRPr lang="en-IN" sz="894">
              <a:solidFill>
                <a:srgbClr val="000000"/>
              </a:solidFill>
            </a:endParaRPr>
          </a:p>
        </p:txBody>
      </p:sp>
      <p:sp>
        <p:nvSpPr>
          <p:cNvPr id="26" name="Bent-Up Arrow 25"/>
          <p:cNvSpPr/>
          <p:nvPr/>
        </p:nvSpPr>
        <p:spPr>
          <a:xfrm rot="5400000">
            <a:off x="2115665" y="3020744"/>
            <a:ext cx="901433" cy="1360599"/>
          </a:xfrm>
          <a:prstGeom prst="bentUpArrow">
            <a:avLst>
              <a:gd name="adj1" fmla="val 25000"/>
              <a:gd name="adj2" fmla="val 2589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639" tIns="34319" rIns="68639" bIns="34319" rtlCol="0" anchor="ctr"/>
          <a:lstStyle/>
          <a:p>
            <a:pPr algn="ctr" defTabSz="742845" fontAlgn="base">
              <a:spcBef>
                <a:spcPct val="0"/>
              </a:spcBef>
              <a:spcAft>
                <a:spcPct val="0"/>
              </a:spcAft>
            </a:pPr>
            <a:endParaRPr lang="en-IN" sz="1463">
              <a:solidFill>
                <a:srgbClr val="FFFFFF"/>
              </a:solidFill>
            </a:endParaRPr>
          </a:p>
        </p:txBody>
      </p:sp>
      <p:sp>
        <p:nvSpPr>
          <p:cNvPr id="27" name="Bent-Up Arrow 26"/>
          <p:cNvSpPr/>
          <p:nvPr/>
        </p:nvSpPr>
        <p:spPr>
          <a:xfrm rot="5400000">
            <a:off x="847275" y="2207557"/>
            <a:ext cx="717007" cy="1360601"/>
          </a:xfrm>
          <a:prstGeom prst="bentUpArrow">
            <a:avLst>
              <a:gd name="adj1" fmla="val 25000"/>
              <a:gd name="adj2" fmla="val 24912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639" tIns="34319" rIns="68639" bIns="34319" rtlCol="0" anchor="ctr"/>
          <a:lstStyle/>
          <a:p>
            <a:pPr algn="ctr" defTabSz="742845" fontAlgn="base">
              <a:spcBef>
                <a:spcPct val="0"/>
              </a:spcBef>
              <a:spcAft>
                <a:spcPct val="0"/>
              </a:spcAft>
            </a:pPr>
            <a:endParaRPr lang="en-IN" sz="1463">
              <a:solidFill>
                <a:srgbClr val="FFFFFF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525474" y="1950397"/>
            <a:ext cx="1408889" cy="578957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639" tIns="34319" rIns="68639" bIns="34319" rtlCol="0" anchor="ctr"/>
          <a:lstStyle/>
          <a:p>
            <a:pPr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9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7"/>
            <a:ext cx="11761676" cy="434891"/>
          </a:xfrm>
        </p:spPr>
        <p:txBody>
          <a:bodyPr/>
          <a:lstStyle>
            <a:lvl1pPr marL="0" indent="0">
              <a:buNone/>
              <a:defRPr sz="1219" b="1">
                <a:latin typeface="Arial" pitchFamily="34" charset="0"/>
                <a:cs typeface="Arial" pitchFamily="34" charset="0"/>
              </a:defRPr>
            </a:lvl1pPr>
            <a:lvl2pPr>
              <a:defRPr sz="1056">
                <a:latin typeface="Arial" pitchFamily="34" charset="0"/>
                <a:cs typeface="Arial" pitchFamily="34" charset="0"/>
              </a:defRPr>
            </a:lvl2pPr>
            <a:lvl3pPr marL="438669" indent="-146223">
              <a:buClr>
                <a:schemeClr val="tx2"/>
              </a:buClr>
              <a:buFont typeface="Wingdings" pitchFamily="2" charset="2"/>
              <a:buChar char="§"/>
              <a:defRPr sz="89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513230284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8DA21C-F319-470D-AFEA-38AD1E9E05DF}" type="slidenum">
              <a:rPr lang="en-IN" smtClean="0"/>
              <a:t>‹#›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279268" y="1349769"/>
          <a:ext cx="11712395" cy="5061360"/>
        </p:xfrm>
        <a:graphic>
          <a:graphicData uri="http://schemas.openxmlformats.org/drawingml/2006/table">
            <a:tbl>
              <a:tblPr firstRow="1"/>
              <a:tblGrid>
                <a:gridCol w="3534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466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251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8871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IN" sz="14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SN</a:t>
                      </a:r>
                      <a:endParaRPr lang="en-US" sz="14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Area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Progress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Remarks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6187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1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ctr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kern="1200">
                        <a:solidFill>
                          <a:srgbClr val="31A93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037" marR="42037" marT="35900" marB="3590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lvl="0" indent="0" algn="l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>
                        <a:solidFill>
                          <a:srgbClr val="31A93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6187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2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kern="1200">
                        <a:solidFill>
                          <a:srgbClr val="FF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037" marR="42037" marT="35900" marB="3590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3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4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6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7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8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9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10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6" name="Up Arrow 5"/>
          <p:cNvSpPr/>
          <p:nvPr/>
        </p:nvSpPr>
        <p:spPr bwMode="auto">
          <a:xfrm>
            <a:off x="6422926" y="1879849"/>
            <a:ext cx="252224" cy="323102"/>
          </a:xfrm>
          <a:prstGeom prst="upArrow">
            <a:avLst/>
          </a:prstGeom>
          <a:solidFill>
            <a:srgbClr val="00B050"/>
          </a:solidFill>
          <a:ln w="19050" cap="flat" cmpd="sng" algn="ctr">
            <a:solidFill>
              <a:srgbClr val="00B05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68639" tIns="34319" rIns="68639" bIns="34319" numCol="1" rtlCol="0" anchor="ctr" anchorCtr="0" compatLnSpc="1">
            <a:prstTxWarp prst="textNoShape">
              <a:avLst/>
            </a:prstTxWarp>
          </a:bodyPr>
          <a:lstStyle/>
          <a:p>
            <a:pPr algn="ctr" defTabSz="686389" fontAlgn="base">
              <a:spcBef>
                <a:spcPct val="0"/>
              </a:spcBef>
              <a:spcAft>
                <a:spcPct val="0"/>
              </a:spcAft>
            </a:pPr>
            <a:endParaRPr lang="en-IN" sz="1381">
              <a:solidFill>
                <a:srgbClr val="000000"/>
              </a:solidFill>
            </a:endParaRPr>
          </a:p>
        </p:txBody>
      </p:sp>
      <p:sp>
        <p:nvSpPr>
          <p:cNvPr id="7" name="Up Arrow 6"/>
          <p:cNvSpPr/>
          <p:nvPr/>
        </p:nvSpPr>
        <p:spPr bwMode="auto">
          <a:xfrm>
            <a:off x="6422926" y="2833804"/>
            <a:ext cx="252224" cy="323102"/>
          </a:xfrm>
          <a:prstGeom prst="upArrow">
            <a:avLst/>
          </a:prstGeom>
          <a:solidFill>
            <a:srgbClr val="00B050"/>
          </a:solidFill>
          <a:ln w="19050" cap="flat" cmpd="sng" algn="ctr">
            <a:solidFill>
              <a:srgbClr val="00B05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68639" tIns="34319" rIns="68639" bIns="34319" numCol="1" rtlCol="0" anchor="ctr" anchorCtr="0" compatLnSpc="1">
            <a:prstTxWarp prst="textNoShape">
              <a:avLst/>
            </a:prstTxWarp>
          </a:bodyPr>
          <a:lstStyle/>
          <a:p>
            <a:pPr algn="ctr" defTabSz="686389" fontAlgn="base">
              <a:spcBef>
                <a:spcPct val="0"/>
              </a:spcBef>
              <a:spcAft>
                <a:spcPct val="0"/>
              </a:spcAft>
            </a:pPr>
            <a:endParaRPr lang="en-IN" sz="1381">
              <a:solidFill>
                <a:srgbClr val="000000"/>
              </a:solidFill>
            </a:endParaRPr>
          </a:p>
        </p:txBody>
      </p:sp>
      <p:sp>
        <p:nvSpPr>
          <p:cNvPr id="8" name="Up Arrow 7"/>
          <p:cNvSpPr/>
          <p:nvPr/>
        </p:nvSpPr>
        <p:spPr bwMode="auto">
          <a:xfrm flipV="1">
            <a:off x="6422926" y="2384885"/>
            <a:ext cx="252224" cy="323102"/>
          </a:xfrm>
          <a:prstGeom prst="upArrow">
            <a:avLst/>
          </a:prstGeom>
          <a:solidFill>
            <a:srgbClr val="EB5335"/>
          </a:solidFill>
          <a:ln w="19050" cap="flat" cmpd="sng" algn="ctr">
            <a:solidFill>
              <a:srgbClr val="EB5335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68639" tIns="34319" rIns="68639" bIns="34319" numCol="1" rtlCol="0" anchor="ctr" anchorCtr="0" compatLnSpc="1">
            <a:prstTxWarp prst="textNoShape">
              <a:avLst/>
            </a:prstTxWarp>
          </a:bodyPr>
          <a:lstStyle/>
          <a:p>
            <a:pPr algn="ctr" defTabSz="686389" fontAlgn="base">
              <a:spcBef>
                <a:spcPct val="0"/>
              </a:spcBef>
              <a:spcAft>
                <a:spcPct val="0"/>
              </a:spcAft>
            </a:pPr>
            <a:endParaRPr lang="en-IN" sz="1381">
              <a:solidFill>
                <a:srgbClr val="000000"/>
              </a:solidFill>
            </a:endParaRP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7"/>
            <a:ext cx="11761676" cy="434891"/>
          </a:xfrm>
        </p:spPr>
        <p:txBody>
          <a:bodyPr/>
          <a:lstStyle>
            <a:lvl1pPr marL="0" indent="0">
              <a:buNone/>
              <a:defRPr sz="1219" b="1">
                <a:latin typeface="Arial" pitchFamily="34" charset="0"/>
                <a:cs typeface="Arial" pitchFamily="34" charset="0"/>
              </a:defRPr>
            </a:lvl1pPr>
            <a:lvl2pPr>
              <a:defRPr sz="1056">
                <a:latin typeface="Arial" pitchFamily="34" charset="0"/>
                <a:cs typeface="Arial" pitchFamily="34" charset="0"/>
              </a:defRPr>
            </a:lvl2pPr>
            <a:lvl3pPr marL="438669" indent="-146223">
              <a:buClr>
                <a:schemeClr val="tx2"/>
              </a:buClr>
              <a:buFont typeface="Wingdings" pitchFamily="2" charset="2"/>
              <a:buChar char="§"/>
              <a:defRPr sz="89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082799988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8DA21C-F319-470D-AFEA-38AD1E9E05DF}" type="slidenum">
              <a:rPr lang="en-IN" smtClean="0"/>
              <a:t>‹#›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Rectangle 4"/>
          <p:cNvSpPr/>
          <p:nvPr/>
        </p:nvSpPr>
        <p:spPr>
          <a:xfrm>
            <a:off x="626195" y="1140025"/>
            <a:ext cx="11332606" cy="5121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88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6" name="Oval 25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37296" y="1155192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89">
              <a:defRPr/>
            </a:pPr>
            <a:r>
              <a:rPr lang="en-US" sz="1381" kern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7" name="Rectangle 6"/>
          <p:cNvSpPr/>
          <p:nvPr/>
        </p:nvSpPr>
        <p:spPr>
          <a:xfrm>
            <a:off x="626195" y="2005567"/>
            <a:ext cx="11332606" cy="5555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88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" name="Oval 260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38513" y="207043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89">
              <a:defRPr/>
            </a:pPr>
            <a:r>
              <a:rPr lang="en-US" sz="1381" kern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9" name="Rectangle 8"/>
          <p:cNvSpPr/>
          <p:nvPr/>
        </p:nvSpPr>
        <p:spPr>
          <a:xfrm>
            <a:off x="626195" y="2914521"/>
            <a:ext cx="11332606" cy="5710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88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0" name="Oval 26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29073" y="2970600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89">
              <a:defRPr/>
            </a:pPr>
            <a:r>
              <a:rPr lang="en-US" sz="1381" ker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26195" y="3838962"/>
            <a:ext cx="11332606" cy="5439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88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2" name="Oval 26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47009" y="3874664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89">
              <a:defRPr/>
            </a:pPr>
            <a:r>
              <a:rPr lang="en-US" sz="1381" kern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26195" y="4736287"/>
            <a:ext cx="11332606" cy="4936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129890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4" name="Oval 26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58279" y="4765994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89">
              <a:defRPr/>
            </a:pPr>
            <a:r>
              <a:rPr lang="en-US" sz="1381" kern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26195" y="5521901"/>
            <a:ext cx="11332606" cy="4936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129890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6" name="Oval 26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58279" y="555160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89">
              <a:defRPr/>
            </a:pPr>
            <a:r>
              <a:rPr lang="en-US" sz="1381" kern="0">
                <a:solidFill>
                  <a:srgbClr val="FFFFFF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735203780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8DA21C-F319-470D-AFEA-38AD1E9E05DF}" type="slidenum">
              <a:rPr lang="en-IN" smtClean="0"/>
              <a:t>‹#›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Rectangle 4"/>
          <p:cNvSpPr/>
          <p:nvPr/>
        </p:nvSpPr>
        <p:spPr>
          <a:xfrm>
            <a:off x="805498" y="1659044"/>
            <a:ext cx="6126673" cy="6897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88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6" name="Oval 25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13639" y="1772438"/>
            <a:ext cx="546487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89">
              <a:defRPr/>
            </a:pPr>
            <a:r>
              <a:rPr lang="en-US" sz="1381" kern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7" name="Rectangle 6"/>
          <p:cNvSpPr/>
          <p:nvPr/>
        </p:nvSpPr>
        <p:spPr>
          <a:xfrm>
            <a:off x="805498" y="2524605"/>
            <a:ext cx="6126673" cy="7481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88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" name="Oval 260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14855" y="2673652"/>
            <a:ext cx="546487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89">
              <a:defRPr/>
            </a:pPr>
            <a:r>
              <a:rPr lang="en-US" sz="1381" kern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9" name="Rectangle 8"/>
          <p:cNvSpPr/>
          <p:nvPr/>
        </p:nvSpPr>
        <p:spPr>
          <a:xfrm>
            <a:off x="805498" y="3433565"/>
            <a:ext cx="6126673" cy="76902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88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0" name="Oval 26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05415" y="3587847"/>
            <a:ext cx="546487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89">
              <a:defRPr/>
            </a:pPr>
            <a:r>
              <a:rPr lang="en-US" sz="1381" ker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1" name="Rectangle 10"/>
          <p:cNvSpPr/>
          <p:nvPr/>
        </p:nvSpPr>
        <p:spPr>
          <a:xfrm>
            <a:off x="805498" y="4358004"/>
            <a:ext cx="6126673" cy="7325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88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2" name="Oval 26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23355" y="4491910"/>
            <a:ext cx="546487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89">
              <a:defRPr/>
            </a:pPr>
            <a:r>
              <a:rPr lang="en-US" sz="1381" kern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05498" y="5255357"/>
            <a:ext cx="6126673" cy="66479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88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4" name="Oval 26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85342" y="5341153"/>
            <a:ext cx="546487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89">
              <a:defRPr/>
            </a:pPr>
            <a:r>
              <a:rPr lang="en-US" sz="1381" kern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5" name="Rectangle 14"/>
          <p:cNvSpPr/>
          <p:nvPr/>
        </p:nvSpPr>
        <p:spPr>
          <a:xfrm>
            <a:off x="9478895" y="1667816"/>
            <a:ext cx="2233504" cy="689739"/>
          </a:xfrm>
          <a:prstGeom prst="rect">
            <a:avLst/>
          </a:prstGeom>
          <a:solidFill>
            <a:srgbClr val="E2FFC5"/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88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478895" y="2533378"/>
            <a:ext cx="2233504" cy="748180"/>
          </a:xfrm>
          <a:prstGeom prst="rect">
            <a:avLst/>
          </a:prstGeom>
          <a:solidFill>
            <a:srgbClr val="E2FFC5"/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88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7" name="Rectangle 16"/>
          <p:cNvSpPr/>
          <p:nvPr/>
        </p:nvSpPr>
        <p:spPr>
          <a:xfrm>
            <a:off x="9478895" y="3442338"/>
            <a:ext cx="2233504" cy="769026"/>
          </a:xfrm>
          <a:prstGeom prst="rect">
            <a:avLst/>
          </a:prstGeom>
          <a:solidFill>
            <a:srgbClr val="E2FFC5"/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88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8" name="Rectangle 17"/>
          <p:cNvSpPr/>
          <p:nvPr/>
        </p:nvSpPr>
        <p:spPr>
          <a:xfrm>
            <a:off x="9478895" y="4366780"/>
            <a:ext cx="2233504" cy="732512"/>
          </a:xfrm>
          <a:prstGeom prst="rect">
            <a:avLst/>
          </a:prstGeom>
          <a:solidFill>
            <a:srgbClr val="E2FFC5"/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88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9" name="Rectangle 18"/>
          <p:cNvSpPr/>
          <p:nvPr/>
        </p:nvSpPr>
        <p:spPr>
          <a:xfrm>
            <a:off x="9478895" y="5264133"/>
            <a:ext cx="2233504" cy="664795"/>
          </a:xfrm>
          <a:prstGeom prst="rect">
            <a:avLst/>
          </a:prstGeom>
          <a:solidFill>
            <a:srgbClr val="E2FFC5"/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129890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0" name="Rectangle 19"/>
          <p:cNvSpPr/>
          <p:nvPr/>
        </p:nvSpPr>
        <p:spPr>
          <a:xfrm>
            <a:off x="7096987" y="1667816"/>
            <a:ext cx="2233504" cy="689739"/>
          </a:xfrm>
          <a:prstGeom prst="rect">
            <a:avLst/>
          </a:prstGeom>
          <a:solidFill>
            <a:srgbClr val="F8D9FF"/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88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096987" y="2533378"/>
            <a:ext cx="2233504" cy="748180"/>
          </a:xfrm>
          <a:prstGeom prst="rect">
            <a:avLst/>
          </a:prstGeom>
          <a:solidFill>
            <a:srgbClr val="F8D9FF"/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88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2" name="Rectangle 21"/>
          <p:cNvSpPr/>
          <p:nvPr/>
        </p:nvSpPr>
        <p:spPr>
          <a:xfrm>
            <a:off x="7096987" y="3442338"/>
            <a:ext cx="2233504" cy="769026"/>
          </a:xfrm>
          <a:prstGeom prst="rect">
            <a:avLst/>
          </a:prstGeom>
          <a:solidFill>
            <a:srgbClr val="F8D9FF"/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88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3" name="Rectangle 22"/>
          <p:cNvSpPr/>
          <p:nvPr/>
        </p:nvSpPr>
        <p:spPr>
          <a:xfrm>
            <a:off x="7096987" y="4366780"/>
            <a:ext cx="2233504" cy="732512"/>
          </a:xfrm>
          <a:prstGeom prst="rect">
            <a:avLst/>
          </a:prstGeom>
          <a:solidFill>
            <a:srgbClr val="F8D9FF"/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88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4" name="Rectangle 23"/>
          <p:cNvSpPr/>
          <p:nvPr/>
        </p:nvSpPr>
        <p:spPr>
          <a:xfrm>
            <a:off x="7096987" y="5264133"/>
            <a:ext cx="2233504" cy="664795"/>
          </a:xfrm>
          <a:prstGeom prst="rect">
            <a:avLst/>
          </a:prstGeom>
          <a:solidFill>
            <a:srgbClr val="F8D9FF"/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88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409359" y="1306417"/>
            <a:ext cx="997828" cy="256924"/>
          </a:xfrm>
          <a:prstGeom prst="rect">
            <a:avLst/>
          </a:prstGeom>
          <a:noFill/>
        </p:spPr>
        <p:txBody>
          <a:bodyPr wrap="none" lIns="68639" tIns="34319" rIns="68639" bIns="34319" rtlCol="0">
            <a:spAutoFit/>
          </a:bodyPr>
          <a:lstStyle/>
          <a:p>
            <a:pPr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Description</a:t>
            </a:r>
            <a:endParaRPr lang="en-US" sz="1219" b="1">
              <a:solidFill>
                <a:srgbClr val="0000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9796356" y="1290697"/>
            <a:ext cx="997828" cy="256924"/>
          </a:xfrm>
          <a:prstGeom prst="rect">
            <a:avLst/>
          </a:prstGeom>
          <a:noFill/>
        </p:spPr>
        <p:txBody>
          <a:bodyPr wrap="none" lIns="68639" tIns="34319" rIns="68639" bIns="34319" rtlCol="0">
            <a:spAutoFit/>
          </a:bodyPr>
          <a:lstStyle/>
          <a:p>
            <a:pPr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Description</a:t>
            </a:r>
            <a:endParaRPr lang="en-US" sz="1219" b="1">
              <a:solidFill>
                <a:srgbClr val="00000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805489" y="1306450"/>
            <a:ext cx="997828" cy="256924"/>
          </a:xfrm>
          <a:prstGeom prst="rect">
            <a:avLst/>
          </a:prstGeom>
          <a:noFill/>
        </p:spPr>
        <p:txBody>
          <a:bodyPr wrap="none" lIns="68639" tIns="34319" rIns="68639" bIns="34319" rtlCol="0">
            <a:spAutoFit/>
          </a:bodyPr>
          <a:lstStyle/>
          <a:p>
            <a:pPr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Description</a:t>
            </a:r>
            <a:endParaRPr lang="en-US" sz="1219" b="1">
              <a:solidFill>
                <a:srgbClr val="000000"/>
              </a:solidFill>
            </a:endParaRPr>
          </a:p>
        </p:txBody>
      </p:sp>
      <p:sp>
        <p:nvSpPr>
          <p:cNvPr id="28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7"/>
            <a:ext cx="11761676" cy="434891"/>
          </a:xfrm>
        </p:spPr>
        <p:txBody>
          <a:bodyPr/>
          <a:lstStyle>
            <a:lvl1pPr marL="0" indent="0">
              <a:buNone/>
              <a:defRPr sz="1219" b="1">
                <a:latin typeface="Arial" pitchFamily="34" charset="0"/>
                <a:cs typeface="Arial" pitchFamily="34" charset="0"/>
              </a:defRPr>
            </a:lvl1pPr>
            <a:lvl2pPr>
              <a:defRPr sz="1056">
                <a:latin typeface="Arial" pitchFamily="34" charset="0"/>
                <a:cs typeface="Arial" pitchFamily="34" charset="0"/>
              </a:defRPr>
            </a:lvl2pPr>
            <a:lvl3pPr marL="438669" indent="-146223">
              <a:buClr>
                <a:schemeClr val="tx2"/>
              </a:buClr>
              <a:buFont typeface="Wingdings" pitchFamily="2" charset="2"/>
              <a:buChar char="§"/>
              <a:defRPr sz="89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446079221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8DA21C-F319-470D-AFEA-38AD1E9E05DF}" type="slidenum">
              <a:rPr lang="en-IN" smtClean="0"/>
              <a:t>‹#›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graphicFrame>
        <p:nvGraphicFramePr>
          <p:cNvPr id="5" name="Content Placeholder 3"/>
          <p:cNvGraphicFramePr>
            <a:graphicFrameLocks/>
          </p:cNvGraphicFramePr>
          <p:nvPr/>
        </p:nvGraphicFramePr>
        <p:xfrm>
          <a:off x="525665" y="1463065"/>
          <a:ext cx="11153881" cy="5183727"/>
        </p:xfrm>
        <a:graphic>
          <a:graphicData uri="http://schemas.openxmlformats.org/drawingml/2006/table">
            <a:tbl>
              <a:tblPr firstRow="1" bandRow="1"/>
              <a:tblGrid>
                <a:gridCol w="5256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98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2483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5916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SN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Particulars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Remarks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4461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1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endParaRPr lang="en-US" sz="1400" baseline="0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226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2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6669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3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0113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4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7"/>
            <a:ext cx="11761676" cy="434891"/>
          </a:xfrm>
        </p:spPr>
        <p:txBody>
          <a:bodyPr/>
          <a:lstStyle>
            <a:lvl1pPr marL="0" indent="0">
              <a:buNone/>
              <a:defRPr sz="1219" b="1">
                <a:latin typeface="Arial" pitchFamily="34" charset="0"/>
                <a:cs typeface="Arial" pitchFamily="34" charset="0"/>
              </a:defRPr>
            </a:lvl1pPr>
            <a:lvl2pPr>
              <a:defRPr sz="1056">
                <a:latin typeface="Arial" pitchFamily="34" charset="0"/>
                <a:cs typeface="Arial" pitchFamily="34" charset="0"/>
              </a:defRPr>
            </a:lvl2pPr>
            <a:lvl3pPr marL="438669" indent="-146223">
              <a:buClr>
                <a:schemeClr val="tx2"/>
              </a:buClr>
              <a:buFont typeface="Wingdings" pitchFamily="2" charset="2"/>
              <a:buChar char="§"/>
              <a:defRPr sz="89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77806629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8DA21C-F319-470D-AFEA-38AD1E9E05DF}" type="slidenum">
              <a:rPr lang="en-IN" smtClean="0"/>
              <a:t>‹#›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525667" y="1401716"/>
          <a:ext cx="11137454" cy="2348293"/>
        </p:xfrm>
        <a:graphic>
          <a:graphicData uri="http://schemas.openxmlformats.org/drawingml/2006/table">
            <a:tbl>
              <a:tblPr/>
              <a:tblGrid>
                <a:gridCol w="20236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39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677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204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633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7986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6343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71044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75259">
                <a:tc>
                  <a:txBody>
                    <a:bodyPr/>
                    <a:lstStyle/>
                    <a:p>
                      <a:pPr algn="ctr" fontAlgn="b"/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oM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Change Q/Q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Change Y/Y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marks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530983" y="4193069"/>
            <a:ext cx="11148564" cy="2232086"/>
            <a:chOff x="123367" y="5147491"/>
            <a:chExt cx="8864071" cy="1583827"/>
          </a:xfrm>
        </p:grpSpPr>
        <p:sp>
          <p:nvSpPr>
            <p:cNvPr id="7" name="Tijdelijke aanduiding voor verticale tekst 24"/>
            <p:cNvSpPr txBox="1">
              <a:spLocks/>
            </p:cNvSpPr>
            <p:nvPr/>
          </p:nvSpPr>
          <p:spPr>
            <a:xfrm>
              <a:off x="123367" y="5405493"/>
              <a:ext cx="8864069" cy="1325825"/>
            </a:xfrm>
            <a:prstGeom prst="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 vert="horz" lIns="91440" tIns="45720" rIns="91440" bIns="45720" rtlCol="0">
              <a:norm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3934" lvl="1" fontAlgn="base">
                <a:spcAft>
                  <a:spcPct val="0"/>
                </a:spcAft>
                <a:buFont typeface="Wingdings" pitchFamily="2" charset="2"/>
                <a:buChar char="§"/>
              </a:pPr>
              <a:r>
                <a:rPr lang="en-GB" sz="1056">
                  <a:solidFill>
                    <a:srgbClr val="000000"/>
                  </a:solidFill>
                </a:rPr>
                <a:t>Text</a:t>
              </a:r>
              <a:endParaRPr lang="en-GB" sz="894">
                <a:solidFill>
                  <a:srgbClr val="000000"/>
                </a:solidFill>
              </a:endParaRPr>
            </a:p>
          </p:txBody>
        </p:sp>
        <p:sp>
          <p:nvSpPr>
            <p:cNvPr id="8" name="Tijdelijke aanduiding voor verticale tekst 25"/>
            <p:cNvSpPr txBox="1">
              <a:spLocks/>
            </p:cNvSpPr>
            <p:nvPr/>
          </p:nvSpPr>
          <p:spPr>
            <a:xfrm>
              <a:off x="123368" y="5147491"/>
              <a:ext cx="8864070" cy="258002"/>
            </a:xfrm>
            <a:prstGeom prst="rect">
              <a:avLst/>
            </a:prstGeom>
            <a:solidFill>
              <a:schemeClr val="accent6">
                <a:lumMod val="10000"/>
                <a:lumOff val="90000"/>
              </a:schemeClr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 vert="horz" wrap="none" lIns="180000" tIns="72000" rIns="216000" bIns="4572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3"/>
                </a:buClr>
                <a:buFont typeface="Wingdings" panose="05000000000000000000" pitchFamily="2" charset="2"/>
                <a:buNone/>
                <a:defRPr sz="1800" b="1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177800" indent="-17780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5600" indent="-17780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3400" indent="-174625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725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i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563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5600" indent="-173038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tabLst/>
                <a:defRPr sz="16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8163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16590" fontAlgn="base">
                <a:lnSpc>
                  <a:spcPts val="1411"/>
                </a:lnSpc>
                <a:spcBef>
                  <a:spcPts val="470"/>
                </a:spcBef>
                <a:spcAft>
                  <a:spcPts val="470"/>
                </a:spcAft>
                <a:buClr>
                  <a:srgbClr val="FFA100"/>
                </a:buClr>
                <a:defRPr/>
              </a:pPr>
              <a:r>
                <a:rPr lang="en-US" sz="1219">
                  <a:solidFill>
                    <a:srgbClr val="000000"/>
                  </a:solidFill>
                </a:rPr>
                <a:t>Highlights</a:t>
              </a:r>
            </a:p>
          </p:txBody>
        </p:sp>
      </p:grp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503758" y="3858781"/>
          <a:ext cx="11175783" cy="219415"/>
        </p:xfrm>
        <a:graphic>
          <a:graphicData uri="http://schemas.openxmlformats.org/drawingml/2006/table">
            <a:tbl>
              <a:tblPr/>
              <a:tblGrid>
                <a:gridCol w="27939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939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753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125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941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ey</a:t>
                      </a:r>
                    </a:p>
                  </a:txBody>
                  <a:tcPr marL="11826" marR="11826" marT="967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11826" marR="11826" marT="96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11826" marR="11826" marT="96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6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11826" marR="11826" marT="9674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0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7"/>
            <a:ext cx="11761676" cy="434891"/>
          </a:xfrm>
        </p:spPr>
        <p:txBody>
          <a:bodyPr/>
          <a:lstStyle>
            <a:lvl1pPr marL="0" indent="0">
              <a:buNone/>
              <a:defRPr sz="1219" b="1">
                <a:latin typeface="Arial" pitchFamily="34" charset="0"/>
                <a:cs typeface="Arial" pitchFamily="34" charset="0"/>
              </a:defRPr>
            </a:lvl1pPr>
            <a:lvl2pPr>
              <a:defRPr sz="1056">
                <a:latin typeface="Arial" pitchFamily="34" charset="0"/>
                <a:cs typeface="Arial" pitchFamily="34" charset="0"/>
              </a:defRPr>
            </a:lvl2pPr>
            <a:lvl3pPr marL="438669" indent="-146223">
              <a:buClr>
                <a:schemeClr val="tx2"/>
              </a:buClr>
              <a:buFont typeface="Wingdings" pitchFamily="2" charset="2"/>
              <a:buChar char="§"/>
              <a:defRPr sz="89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316363981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8DA21C-F319-470D-AFEA-38AD1E9E05DF}" type="slidenum">
              <a:rPr lang="en-IN" smtClean="0"/>
              <a:t>‹#›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Pentagon 4"/>
          <p:cNvSpPr/>
          <p:nvPr/>
        </p:nvSpPr>
        <p:spPr bwMode="auto">
          <a:xfrm>
            <a:off x="6012269" y="1599272"/>
            <a:ext cx="5913697" cy="4966170"/>
          </a:xfrm>
          <a:prstGeom prst="homePlate">
            <a:avLst>
              <a:gd name="adj" fmla="val 507"/>
            </a:avLst>
          </a:prstGeom>
          <a:solidFill>
            <a:schemeClr val="bg1"/>
          </a:solidFill>
          <a:ln w="3810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5116" tIns="135116" rIns="135116" bIns="135116" numCol="1" rtlCol="0" anchor="t" anchorCtr="0" compatLnSpc="1">
            <a:prstTxWarp prst="textNoShape">
              <a:avLst/>
            </a:prstTxWarp>
          </a:bodyPr>
          <a:lstStyle/>
          <a:p>
            <a:pPr defTabSz="686389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  <a:endParaRPr lang="en-IN" sz="1381" b="1">
              <a:solidFill>
                <a:srgbClr val="000000"/>
              </a:solidFill>
            </a:endParaRPr>
          </a:p>
          <a:p>
            <a:pPr marL="342002" indent="-214498" defTabSz="686389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1219">
                <a:solidFill>
                  <a:srgbClr val="000000"/>
                </a:solidFill>
              </a:rPr>
              <a:t>Text</a:t>
            </a:r>
          </a:p>
          <a:p>
            <a:pPr marL="342002" indent="-214498" defTabSz="686389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1219">
                <a:solidFill>
                  <a:srgbClr val="000000"/>
                </a:solidFill>
              </a:rPr>
              <a:t>Text</a:t>
            </a:r>
            <a:endParaRPr lang="en-IN" sz="1219" b="1">
              <a:solidFill>
                <a:srgbClr val="000000"/>
              </a:solidFill>
            </a:endParaRPr>
          </a:p>
        </p:txBody>
      </p:sp>
      <p:sp>
        <p:nvSpPr>
          <p:cNvPr id="6" name="Pentagon 5"/>
          <p:cNvSpPr/>
          <p:nvPr/>
        </p:nvSpPr>
        <p:spPr bwMode="auto">
          <a:xfrm>
            <a:off x="312106" y="1599272"/>
            <a:ext cx="5946545" cy="4966170"/>
          </a:xfrm>
          <a:prstGeom prst="homePlate">
            <a:avLst>
              <a:gd name="adj" fmla="val 8913"/>
            </a:avLst>
          </a:prstGeom>
          <a:solidFill>
            <a:schemeClr val="tx2">
              <a:lumMod val="20000"/>
              <a:lumOff val="80000"/>
            </a:schemeClr>
          </a:solidFill>
          <a:ln w="2857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5116" tIns="135116" rIns="135116" bIns="135116" numCol="1" rtlCol="0" anchor="t" anchorCtr="0" compatLnSpc="1">
            <a:prstTxWarp prst="textNoShape">
              <a:avLst/>
            </a:prstTxWarp>
          </a:bodyPr>
          <a:lstStyle/>
          <a:p>
            <a:pPr defTabSz="686389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  <a:endParaRPr lang="en-IN" sz="1381" b="1">
              <a:solidFill>
                <a:srgbClr val="000000"/>
              </a:solidFill>
            </a:endParaRPr>
          </a:p>
          <a:p>
            <a:pPr marL="342002" indent="-214498" defTabSz="686389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1219">
                <a:solidFill>
                  <a:srgbClr val="000000"/>
                </a:solidFill>
              </a:rPr>
              <a:t>Text</a:t>
            </a:r>
          </a:p>
          <a:p>
            <a:pPr marL="342002" indent="-214498" defTabSz="686389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1219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91245" y="1106984"/>
            <a:ext cx="11634721" cy="369887"/>
          </a:xfrm>
        </p:spPr>
        <p:txBody>
          <a:bodyPr/>
          <a:lstStyle>
            <a:lvl1pPr>
              <a:buNone/>
              <a:defRPr sz="1219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9740093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8DA21C-F319-470D-AFEA-38AD1E9E05DF}" type="slidenum">
              <a:rPr lang="en-IN" smtClean="0"/>
              <a:t>‹#›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graphicFrame>
        <p:nvGraphicFramePr>
          <p:cNvPr id="5" name="Diagram 4"/>
          <p:cNvGraphicFramePr/>
          <p:nvPr/>
        </p:nvGraphicFramePr>
        <p:xfrm>
          <a:off x="537167" y="1585251"/>
          <a:ext cx="6444292" cy="46715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981460" y="3194479"/>
            <a:ext cx="4714527" cy="835759"/>
          </a:xfrm>
          <a:prstGeom prst="rect">
            <a:avLst/>
          </a:prstGeom>
          <a:noFill/>
          <a:ln>
            <a:noFill/>
          </a:ln>
        </p:spPr>
        <p:txBody>
          <a:bodyPr wrap="square" lIns="68631" tIns="34317" rIns="68631" bIns="34317" rtlCol="0">
            <a:spAutoFit/>
          </a:bodyPr>
          <a:lstStyle/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TEXT</a:t>
            </a:r>
          </a:p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 </a:t>
            </a:r>
          </a:p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 </a:t>
            </a:r>
          </a:p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981460" y="1567145"/>
            <a:ext cx="4714527" cy="835759"/>
          </a:xfrm>
          <a:prstGeom prst="rect">
            <a:avLst/>
          </a:prstGeom>
          <a:noFill/>
          <a:ln>
            <a:noFill/>
          </a:ln>
        </p:spPr>
        <p:txBody>
          <a:bodyPr wrap="square" lIns="68631" tIns="34317" rIns="68631" bIns="34317" rtlCol="0">
            <a:spAutoFit/>
          </a:bodyPr>
          <a:lstStyle/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TEXT</a:t>
            </a:r>
          </a:p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 </a:t>
            </a:r>
          </a:p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 </a:t>
            </a:r>
          </a:p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981460" y="4821830"/>
            <a:ext cx="4714527" cy="835759"/>
          </a:xfrm>
          <a:prstGeom prst="rect">
            <a:avLst/>
          </a:prstGeom>
          <a:noFill/>
          <a:ln>
            <a:noFill/>
          </a:ln>
        </p:spPr>
        <p:txBody>
          <a:bodyPr wrap="square" lIns="68631" tIns="34317" rIns="68631" bIns="34317" rtlCol="0">
            <a:spAutoFit/>
          </a:bodyPr>
          <a:lstStyle/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TEXT</a:t>
            </a:r>
          </a:p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 </a:t>
            </a:r>
          </a:p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 </a:t>
            </a:r>
          </a:p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7"/>
            <a:ext cx="11761676" cy="434891"/>
          </a:xfrm>
        </p:spPr>
        <p:txBody>
          <a:bodyPr/>
          <a:lstStyle>
            <a:lvl1pPr marL="0" indent="0">
              <a:buNone/>
              <a:defRPr sz="1219" b="1">
                <a:latin typeface="Arial" pitchFamily="34" charset="0"/>
                <a:cs typeface="Arial" pitchFamily="34" charset="0"/>
              </a:defRPr>
            </a:lvl1pPr>
            <a:lvl2pPr>
              <a:defRPr sz="1056">
                <a:latin typeface="Arial" pitchFamily="34" charset="0"/>
                <a:cs typeface="Arial" pitchFamily="34" charset="0"/>
              </a:defRPr>
            </a:lvl2pPr>
            <a:lvl3pPr marL="438669" indent="-146223">
              <a:buClr>
                <a:schemeClr val="tx2"/>
              </a:buClr>
              <a:buFont typeface="Wingdings" pitchFamily="2" charset="2"/>
              <a:buChar char="§"/>
              <a:defRPr sz="89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74497785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8" y="167389"/>
            <a:ext cx="670982" cy="215900"/>
          </a:xfrm>
          <a:prstGeom prst="rect">
            <a:avLst/>
          </a:prstGeom>
        </p:spPr>
        <p:txBody>
          <a:bodyPr lIns="91436" tIns="45718" rIns="91436" bIns="45718"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66445021"/>
              </p:ext>
            </p:extLst>
          </p:nvPr>
        </p:nvGraphicFramePr>
        <p:xfrm>
          <a:off x="436024" y="1363807"/>
          <a:ext cx="11094065" cy="5185395"/>
        </p:xfrm>
        <a:graphic>
          <a:graphicData uri="http://schemas.openxmlformats.org/drawingml/2006/table">
            <a:tbl>
              <a:tblPr firstRow="1"/>
              <a:tblGrid>
                <a:gridCol w="4181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592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06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136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5731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5731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IN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N</a:t>
                      </a:r>
                      <a:endParaRPr lang="en-US" sz="1400" b="1" i="0" u="none" strike="noStrike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Area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kern="1200" cap="all">
                          <a:solidFill>
                            <a:srgbClr val="31A93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</a:t>
                      </a:r>
                      <a:endParaRPr lang="en-US" sz="1900" kern="1200">
                        <a:solidFill>
                          <a:srgbClr val="31A93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en-IN" sz="1400" b="1">
                          <a:solidFill>
                            <a:srgbClr val="FF0000"/>
                          </a:solidFill>
                        </a:rPr>
                        <a:t>X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9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1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3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4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7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6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876" indent="-179959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639665121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8DA21C-F319-470D-AFEA-38AD1E9E05DF}" type="slidenum">
              <a:rPr lang="en-IN" smtClean="0"/>
              <a:t>‹#›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Rectangle 4"/>
          <p:cNvSpPr/>
          <p:nvPr/>
        </p:nvSpPr>
        <p:spPr>
          <a:xfrm>
            <a:off x="550588" y="1494337"/>
            <a:ext cx="2942619" cy="2513019"/>
          </a:xfrm>
          <a:prstGeom prst="rect">
            <a:avLst/>
          </a:prstGeom>
          <a:solidFill>
            <a:srgbClr val="E2FFC5"/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88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6" name="Rectangle 5"/>
          <p:cNvSpPr/>
          <p:nvPr/>
        </p:nvSpPr>
        <p:spPr>
          <a:xfrm>
            <a:off x="3632791" y="1503198"/>
            <a:ext cx="2942619" cy="2513019"/>
          </a:xfrm>
          <a:prstGeom prst="rect">
            <a:avLst/>
          </a:prstGeom>
          <a:solidFill>
            <a:srgbClr val="E2FFC5"/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88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7" name="Rectangle 6"/>
          <p:cNvSpPr/>
          <p:nvPr/>
        </p:nvSpPr>
        <p:spPr>
          <a:xfrm>
            <a:off x="550588" y="4119601"/>
            <a:ext cx="2942619" cy="2513019"/>
          </a:xfrm>
          <a:prstGeom prst="rect">
            <a:avLst/>
          </a:prstGeom>
          <a:solidFill>
            <a:srgbClr val="E2FFC5"/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88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" name="Rectangle 7"/>
          <p:cNvSpPr/>
          <p:nvPr/>
        </p:nvSpPr>
        <p:spPr>
          <a:xfrm rot="425343">
            <a:off x="3775787" y="4199632"/>
            <a:ext cx="2858543" cy="244121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88" algn="just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1460" y="1482971"/>
            <a:ext cx="4714527" cy="835759"/>
          </a:xfrm>
          <a:prstGeom prst="rect">
            <a:avLst/>
          </a:prstGeom>
          <a:noFill/>
          <a:ln>
            <a:noFill/>
          </a:ln>
        </p:spPr>
        <p:txBody>
          <a:bodyPr wrap="square" lIns="68631" tIns="34317" rIns="68631" bIns="34317" rtlCol="0">
            <a:spAutoFit/>
          </a:bodyPr>
          <a:lstStyle/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TEXT</a:t>
            </a:r>
          </a:p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 </a:t>
            </a:r>
          </a:p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 </a:t>
            </a:r>
          </a:p>
          <a:p>
            <a:pPr marL="214472" indent="-214472" defTabSz="686316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10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7"/>
            <a:ext cx="11761676" cy="434891"/>
          </a:xfrm>
        </p:spPr>
        <p:txBody>
          <a:bodyPr/>
          <a:lstStyle>
            <a:lvl1pPr marL="0" indent="0">
              <a:buNone/>
              <a:defRPr sz="1219" b="1">
                <a:latin typeface="Arial" pitchFamily="34" charset="0"/>
                <a:cs typeface="Arial" pitchFamily="34" charset="0"/>
              </a:defRPr>
            </a:lvl1pPr>
            <a:lvl2pPr>
              <a:defRPr sz="1056">
                <a:latin typeface="Arial" pitchFamily="34" charset="0"/>
                <a:cs typeface="Arial" pitchFamily="34" charset="0"/>
              </a:defRPr>
            </a:lvl2pPr>
            <a:lvl3pPr marL="438669" indent="-146223">
              <a:buClr>
                <a:schemeClr val="tx2"/>
              </a:buClr>
              <a:buFont typeface="Wingdings" pitchFamily="2" charset="2"/>
              <a:buChar char="§"/>
              <a:defRPr sz="89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283853693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8DA21C-F319-470D-AFEA-38AD1E9E05DF}" type="slidenum">
              <a:rPr lang="en-IN" smtClean="0"/>
              <a:t>‹#›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Rectangle 4"/>
          <p:cNvSpPr/>
          <p:nvPr/>
        </p:nvSpPr>
        <p:spPr>
          <a:xfrm>
            <a:off x="180696" y="1646879"/>
            <a:ext cx="3789566" cy="3590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658" tIns="35830" rIns="71658" bIns="35830" rtlCol="0" anchor="ctr"/>
          <a:lstStyle/>
          <a:p>
            <a:pPr algn="ctr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Description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4017940" y="1632854"/>
            <a:ext cx="0" cy="5026039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8080331" y="1646885"/>
            <a:ext cx="0" cy="5026039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152451" y="3886918"/>
            <a:ext cx="3789561" cy="68287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1658" tIns="35830" rIns="71658" bIns="35830">
            <a:spAutoFit/>
          </a:bodyPr>
          <a:lstStyle/>
          <a:p>
            <a:pPr marL="74644" indent="-74644" defTabSz="74284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894">
                <a:solidFill>
                  <a:srgbClr val="000000"/>
                </a:solidFill>
              </a:rPr>
              <a:t>Text</a:t>
            </a:r>
          </a:p>
          <a:p>
            <a:pPr marL="74644" indent="-74644" defTabSz="74284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  <a:p>
            <a:pPr marL="74644" indent="-74644" defTabSz="74284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  <a:p>
            <a:pPr marL="74644" indent="-74644" defTabSz="74284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80697" y="3385236"/>
            <a:ext cx="11764448" cy="3590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658" tIns="35830" rIns="71658" bIns="35830" rtlCol="0" anchor="ctr"/>
          <a:lstStyle/>
          <a:p>
            <a:pPr algn="ctr" defTabSz="742845" fontAlgn="base">
              <a:spcBef>
                <a:spcPct val="0"/>
              </a:spcBef>
              <a:spcAft>
                <a:spcPct val="0"/>
              </a:spcAft>
              <a:buClr>
                <a:srgbClr val="3D7EDB"/>
              </a:buClr>
            </a:pPr>
            <a:r>
              <a:rPr lang="en-GB" sz="1219" b="1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64277" y="2073270"/>
            <a:ext cx="3789561" cy="68287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1658" tIns="35830" rIns="71658" bIns="35830">
            <a:spAutoFit/>
          </a:bodyPr>
          <a:lstStyle/>
          <a:p>
            <a:pPr marL="74644" indent="-74644" defTabSz="74284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894">
                <a:solidFill>
                  <a:srgbClr val="000000"/>
                </a:solidFill>
              </a:rPr>
              <a:t>Text</a:t>
            </a:r>
          </a:p>
          <a:p>
            <a:pPr marL="74644" indent="-74644" defTabSz="74284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  <a:p>
            <a:pPr marL="74644" indent="-74644" defTabSz="74284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  <a:p>
            <a:pPr marL="74644" indent="-74644" defTabSz="74284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100079" y="1646879"/>
            <a:ext cx="3938430" cy="3590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658" tIns="35830" rIns="71658" bIns="35830" rtlCol="0" anchor="ctr"/>
          <a:lstStyle/>
          <a:p>
            <a:pPr algn="ctr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071829" y="3886918"/>
            <a:ext cx="3938427" cy="68287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1658" tIns="35830" rIns="71658" bIns="35830">
            <a:spAutoFit/>
          </a:bodyPr>
          <a:lstStyle/>
          <a:p>
            <a:pPr marL="74644" indent="-74644" defTabSz="74284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894">
                <a:solidFill>
                  <a:srgbClr val="000000"/>
                </a:solidFill>
              </a:rPr>
              <a:t>Text</a:t>
            </a:r>
          </a:p>
          <a:p>
            <a:pPr marL="74644" indent="-74644" defTabSz="74284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  <a:p>
            <a:pPr marL="74644" indent="-74644" defTabSz="74284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  <a:p>
            <a:pPr marL="74644" indent="-74644" defTabSz="74284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083655" y="2073270"/>
            <a:ext cx="3938427" cy="68287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1658" tIns="35830" rIns="71658" bIns="35830">
            <a:spAutoFit/>
          </a:bodyPr>
          <a:lstStyle/>
          <a:p>
            <a:pPr marL="74644" indent="-74644" defTabSz="74284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894">
                <a:solidFill>
                  <a:srgbClr val="000000"/>
                </a:solidFill>
              </a:rPr>
              <a:t>Text</a:t>
            </a:r>
          </a:p>
          <a:p>
            <a:pPr marL="74644" indent="-74644" defTabSz="74284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  <a:p>
            <a:pPr marL="74644" indent="-74644" defTabSz="74284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  <a:p>
            <a:pPr marL="74644" indent="-74644" defTabSz="74284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8183834" y="1646879"/>
            <a:ext cx="3789566" cy="3590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658" tIns="35830" rIns="71658" bIns="35830" rtlCol="0" anchor="ctr"/>
          <a:lstStyle/>
          <a:p>
            <a:pPr algn="ctr" defTabSz="742845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21" name="Rectangle 20"/>
          <p:cNvSpPr/>
          <p:nvPr/>
        </p:nvSpPr>
        <p:spPr>
          <a:xfrm>
            <a:off x="8155602" y="3886918"/>
            <a:ext cx="3789561" cy="68287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1658" tIns="35830" rIns="71658" bIns="35830">
            <a:spAutoFit/>
          </a:bodyPr>
          <a:lstStyle/>
          <a:p>
            <a:pPr marL="74644" indent="-74644" defTabSz="74284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894">
                <a:solidFill>
                  <a:srgbClr val="000000"/>
                </a:solidFill>
              </a:rPr>
              <a:t>Text</a:t>
            </a:r>
          </a:p>
          <a:p>
            <a:pPr marL="74644" indent="-74644" defTabSz="74284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  <a:p>
            <a:pPr marL="74644" indent="-74644" defTabSz="74284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  <a:p>
            <a:pPr marL="74644" indent="-74644" defTabSz="74284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167420" y="2073270"/>
            <a:ext cx="3789561" cy="68287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1658" tIns="35830" rIns="71658" bIns="35830">
            <a:spAutoFit/>
          </a:bodyPr>
          <a:lstStyle/>
          <a:p>
            <a:pPr marL="74644" indent="-74644" defTabSz="74284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894">
                <a:solidFill>
                  <a:srgbClr val="000000"/>
                </a:solidFill>
              </a:rPr>
              <a:t>Text</a:t>
            </a:r>
          </a:p>
          <a:p>
            <a:pPr marL="74644" indent="-74644" defTabSz="74284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  <a:p>
            <a:pPr marL="74644" indent="-74644" defTabSz="74284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  <a:p>
            <a:pPr marL="74644" indent="-74644" defTabSz="74284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</p:txBody>
      </p:sp>
      <p:sp>
        <p:nvSpPr>
          <p:cNvPr id="24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7"/>
            <a:ext cx="11761676" cy="434891"/>
          </a:xfrm>
        </p:spPr>
        <p:txBody>
          <a:bodyPr/>
          <a:lstStyle>
            <a:lvl1pPr marL="0" indent="0">
              <a:buNone/>
              <a:defRPr sz="1219" b="1">
                <a:latin typeface="Arial" pitchFamily="34" charset="0"/>
                <a:cs typeface="Arial" pitchFamily="34" charset="0"/>
              </a:defRPr>
            </a:lvl1pPr>
            <a:lvl2pPr>
              <a:defRPr sz="1056">
                <a:latin typeface="Arial" pitchFamily="34" charset="0"/>
                <a:cs typeface="Arial" pitchFamily="34" charset="0"/>
              </a:defRPr>
            </a:lvl2pPr>
            <a:lvl3pPr marL="438669" indent="-146223">
              <a:buClr>
                <a:schemeClr val="tx2"/>
              </a:buClr>
              <a:buFont typeface="Wingdings" pitchFamily="2" charset="2"/>
              <a:buChar char="§"/>
              <a:defRPr sz="89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055995442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8DA21C-F319-470D-AFEA-38AD1E9E05DF}" type="slidenum">
              <a:rPr lang="en-IN" smtClean="0"/>
              <a:t>‹#›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gray">
          <a:xfrm>
            <a:off x="393915" y="1285708"/>
            <a:ext cx="11334393" cy="4667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947" tIns="54555" rIns="54555" bIns="54555" anchor="ctr"/>
          <a:lstStyle/>
          <a:p>
            <a:pPr marL="257396" indent="-257396" defTabSz="742845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en-US" sz="1219">
                <a:solidFill>
                  <a:srgbClr val="000000"/>
                </a:solidFill>
              </a:rPr>
              <a:t>Text</a:t>
            </a:r>
            <a:endParaRPr lang="en-IN" sz="1219" noProof="1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gray">
          <a:xfrm>
            <a:off x="393915" y="1921837"/>
            <a:ext cx="11334393" cy="46670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947" tIns="54555" rIns="54555" bIns="54555" anchor="ctr"/>
          <a:lstStyle/>
          <a:p>
            <a:pPr defTabSz="742845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219">
              <a:solidFill>
                <a:srgbClr val="000000"/>
              </a:solidFill>
            </a:endParaRPr>
          </a:p>
          <a:p>
            <a:pPr marL="257396" indent="-257396" defTabSz="742845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2"/>
              <a:defRPr/>
            </a:pPr>
            <a:r>
              <a:rPr lang="en-US" sz="1219">
                <a:solidFill>
                  <a:srgbClr val="000000"/>
                </a:solidFill>
              </a:rPr>
              <a:t>Text</a:t>
            </a:r>
          </a:p>
          <a:p>
            <a:pPr defTabSz="742845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219" noProof="1">
              <a:solidFill>
                <a:srgbClr val="000000"/>
              </a:solidFill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gray">
          <a:xfrm>
            <a:off x="393915" y="2557966"/>
            <a:ext cx="11334393" cy="4667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947" tIns="54555" rIns="54555" bIns="54555" anchor="ctr"/>
          <a:lstStyle/>
          <a:p>
            <a:pPr defTabSz="742845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219">
              <a:solidFill>
                <a:srgbClr val="000000"/>
              </a:solidFill>
            </a:endParaRPr>
          </a:p>
          <a:p>
            <a:pPr marL="257396" indent="-257396" defTabSz="742845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3"/>
              <a:defRPr/>
            </a:pPr>
            <a:r>
              <a:rPr lang="en-US" sz="1219">
                <a:solidFill>
                  <a:srgbClr val="000000"/>
                </a:solidFill>
              </a:rPr>
              <a:t>Text</a:t>
            </a:r>
          </a:p>
          <a:p>
            <a:pPr defTabSz="742845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219" noProof="1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gray">
          <a:xfrm>
            <a:off x="393915" y="3830224"/>
            <a:ext cx="11334393" cy="4667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947" tIns="54555" rIns="54555" bIns="54555" anchor="ctr"/>
          <a:lstStyle/>
          <a:p>
            <a:pPr defTabSz="742845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219">
              <a:solidFill>
                <a:srgbClr val="000000"/>
              </a:solidFill>
            </a:endParaRPr>
          </a:p>
          <a:p>
            <a:pPr marL="257396" indent="-257396" defTabSz="742845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5"/>
              <a:defRPr/>
            </a:pPr>
            <a:r>
              <a:rPr lang="en-US" sz="1219">
                <a:solidFill>
                  <a:srgbClr val="000000"/>
                </a:solidFill>
              </a:rPr>
              <a:t>Text</a:t>
            </a:r>
          </a:p>
          <a:p>
            <a:pPr defTabSz="742845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219" noProof="1">
              <a:solidFill>
                <a:srgbClr val="000000"/>
              </a:solidFill>
            </a:endParaRP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gray">
          <a:xfrm>
            <a:off x="393915" y="3194095"/>
            <a:ext cx="11334393" cy="46670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947" tIns="54555" rIns="54555" bIns="54555" anchor="ctr"/>
          <a:lstStyle/>
          <a:p>
            <a:pPr marL="257396" indent="-257396" defTabSz="742845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4"/>
              <a:defRPr/>
            </a:pPr>
            <a:r>
              <a:rPr lang="en-US" sz="1219">
                <a:solidFill>
                  <a:srgbClr val="000000"/>
                </a:solidFill>
              </a:rPr>
              <a:t>Text</a:t>
            </a:r>
            <a:endParaRPr lang="en-US" sz="1219" noProof="1">
              <a:solidFill>
                <a:srgbClr val="000000"/>
              </a:solidFill>
            </a:endParaRP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gray">
          <a:xfrm>
            <a:off x="393915" y="4466353"/>
            <a:ext cx="11334393" cy="46670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947" tIns="54555" rIns="54555" bIns="54555" anchor="ctr"/>
          <a:lstStyle/>
          <a:p>
            <a:pPr marL="257396" indent="-257396" defTabSz="742845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6"/>
              <a:defRPr/>
            </a:pPr>
            <a:r>
              <a:rPr lang="en-US" sz="1219">
                <a:solidFill>
                  <a:srgbClr val="000000"/>
                </a:solidFill>
              </a:rPr>
              <a:t>Text</a:t>
            </a:r>
            <a:endParaRPr lang="en-US" sz="1219" noProof="1">
              <a:solidFill>
                <a:srgbClr val="000000"/>
              </a:solidFill>
            </a:endParaRP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gray">
          <a:xfrm>
            <a:off x="393915" y="5102480"/>
            <a:ext cx="11334393" cy="4667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947" tIns="54555" rIns="54555" bIns="54555" anchor="ctr"/>
          <a:lstStyle/>
          <a:p>
            <a:pPr defTabSz="742845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219">
              <a:solidFill>
                <a:srgbClr val="000000"/>
              </a:solidFill>
            </a:endParaRPr>
          </a:p>
          <a:p>
            <a:pPr marL="257396" indent="-257396" defTabSz="742845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7"/>
              <a:defRPr/>
            </a:pPr>
            <a:r>
              <a:rPr lang="en-US" sz="1219">
                <a:solidFill>
                  <a:srgbClr val="000000"/>
                </a:solidFill>
              </a:rPr>
              <a:t>Text</a:t>
            </a:r>
          </a:p>
          <a:p>
            <a:pPr defTabSz="742845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219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8276982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8DA21C-F319-470D-AFEA-38AD1E9E05DF}" type="slidenum">
              <a:rPr lang="en-IN" smtClean="0"/>
              <a:t>‹#›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2" name="Content Placeholder 22"/>
          <p:cNvSpPr>
            <a:spLocks noGrp="1"/>
          </p:cNvSpPr>
          <p:nvPr/>
        </p:nvSpPr>
        <p:spPr bwMode="auto">
          <a:xfrm>
            <a:off x="1911838" y="1434892"/>
            <a:ext cx="9644295" cy="1003266"/>
          </a:xfrm>
          <a:prstGeom prst="rect">
            <a:avLst/>
          </a:prstGeom>
          <a:solidFill>
            <a:srgbClr val="00B0F0">
              <a:lumMod val="20000"/>
              <a:lumOff val="80000"/>
            </a:srgbClr>
          </a:solidFill>
          <a:ln w="12700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274555" tIns="34319" rIns="34319" bIns="34319" numCol="1" anchor="ctr" anchorCtr="0" compatLnSpc="1">
            <a:prstTxWarp prst="textNoShape">
              <a:avLst/>
            </a:prstTxWarp>
          </a:bodyPr>
          <a:lstStyle>
            <a:lvl1pPr marL="228600" indent="-228600" algn="l" defTabSz="1019175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4080"/>
              </a:buClr>
              <a:buSzPct val="90000"/>
              <a:buFont typeface="Wingdings" pitchFamily="2" charset="2"/>
              <a:buChar char="n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90525" indent="-142875" algn="l" defTabSz="1019175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Arial" pitchFamily="34" charset="0"/>
              <a:buChar char="–"/>
              <a:defRPr sz="1100">
                <a:solidFill>
                  <a:srgbClr val="000000"/>
                </a:solidFill>
                <a:latin typeface="+mn-lt"/>
              </a:defRPr>
            </a:lvl2pPr>
            <a:lvl3pPr marL="504825" indent="-104775" algn="l" defTabSz="1019175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3pPr>
            <a:lvl4pPr marL="904875" indent="-212725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4pPr>
            <a:lvl5pPr marL="11477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5pPr>
            <a:lvl6pPr marL="16049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6pPr>
            <a:lvl7pPr marL="20621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7pPr>
            <a:lvl8pPr marL="25193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8pPr>
            <a:lvl9pPr marL="29765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171597" indent="-171597" defTabSz="765038">
              <a:spcBef>
                <a:spcPts val="450"/>
              </a:spcBef>
              <a:defRPr/>
            </a:pPr>
            <a:r>
              <a:rPr lang="en-US" sz="1056" kern="0"/>
              <a:t>Sample 1</a:t>
            </a:r>
          </a:p>
          <a:p>
            <a:pPr marL="293145" lvl="1" indent="-107248" defTabSz="765038">
              <a:spcBef>
                <a:spcPts val="301"/>
              </a:spcBef>
              <a:defRPr/>
            </a:pPr>
            <a:r>
              <a:rPr lang="en-US" sz="1056" kern="0"/>
              <a:t>Sample 2</a:t>
            </a:r>
          </a:p>
          <a:p>
            <a:pPr marL="378944" lvl="2" indent="-78648" defTabSz="765038">
              <a:spcBef>
                <a:spcPts val="150"/>
              </a:spcBef>
              <a:defRPr/>
            </a:pPr>
            <a:r>
              <a:rPr lang="en-US" sz="1056" kern="0"/>
              <a:t>Sample 3</a:t>
            </a:r>
          </a:p>
        </p:txBody>
      </p:sp>
      <p:sp>
        <p:nvSpPr>
          <p:cNvPr id="14" name="Oval 13"/>
          <p:cNvSpPr/>
          <p:nvPr/>
        </p:nvSpPr>
        <p:spPr>
          <a:xfrm>
            <a:off x="949111" y="1372656"/>
            <a:ext cx="1326457" cy="1135163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68639" tIns="34319" rIns="68639" bIns="34319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6389">
              <a:defRPr/>
            </a:pPr>
            <a:r>
              <a:rPr lang="en-US" sz="1056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7" name="Content Placeholder 22"/>
          <p:cNvSpPr>
            <a:spLocks noGrp="1"/>
          </p:cNvSpPr>
          <p:nvPr/>
        </p:nvSpPr>
        <p:spPr bwMode="auto">
          <a:xfrm>
            <a:off x="2419638" y="2918487"/>
            <a:ext cx="9085653" cy="1003266"/>
          </a:xfrm>
          <a:prstGeom prst="rect">
            <a:avLst/>
          </a:prstGeom>
          <a:solidFill>
            <a:srgbClr val="00B0F0">
              <a:lumMod val="20000"/>
              <a:lumOff val="80000"/>
            </a:srgbClr>
          </a:solidFill>
          <a:ln w="12700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274555" tIns="34319" rIns="34319" bIns="34319" numCol="1" anchor="ctr" anchorCtr="0" compatLnSpc="1">
            <a:prstTxWarp prst="textNoShape">
              <a:avLst/>
            </a:prstTxWarp>
          </a:bodyPr>
          <a:lstStyle>
            <a:lvl1pPr marL="228600" indent="-228600" algn="l" defTabSz="1019175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4080"/>
              </a:buClr>
              <a:buSzPct val="90000"/>
              <a:buFont typeface="Wingdings" pitchFamily="2" charset="2"/>
              <a:buChar char="n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90525" indent="-142875" algn="l" defTabSz="1019175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Arial" pitchFamily="34" charset="0"/>
              <a:buChar char="–"/>
              <a:defRPr sz="1100">
                <a:solidFill>
                  <a:srgbClr val="000000"/>
                </a:solidFill>
                <a:latin typeface="+mn-lt"/>
              </a:defRPr>
            </a:lvl2pPr>
            <a:lvl3pPr marL="504825" indent="-104775" algn="l" defTabSz="1019175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3pPr>
            <a:lvl4pPr marL="904875" indent="-212725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4pPr>
            <a:lvl5pPr marL="11477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5pPr>
            <a:lvl6pPr marL="16049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6pPr>
            <a:lvl7pPr marL="20621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7pPr>
            <a:lvl8pPr marL="25193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8pPr>
            <a:lvl9pPr marL="29765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171597" indent="-171597" defTabSz="765038">
              <a:spcBef>
                <a:spcPts val="450"/>
              </a:spcBef>
              <a:defRPr/>
            </a:pPr>
            <a:r>
              <a:rPr lang="en-US" sz="1056" kern="0"/>
              <a:t>Sample 1</a:t>
            </a:r>
          </a:p>
          <a:p>
            <a:pPr marL="293145" lvl="1" indent="-107248" defTabSz="765038">
              <a:spcBef>
                <a:spcPts val="301"/>
              </a:spcBef>
              <a:defRPr/>
            </a:pPr>
            <a:r>
              <a:rPr lang="en-US" sz="1056" kern="0"/>
              <a:t>Sample 2</a:t>
            </a:r>
          </a:p>
          <a:p>
            <a:pPr marL="378944" lvl="2" indent="-78648" defTabSz="765038">
              <a:spcBef>
                <a:spcPts val="150"/>
              </a:spcBef>
              <a:defRPr/>
            </a:pPr>
            <a:r>
              <a:rPr lang="en-US" sz="1056" kern="0"/>
              <a:t>Sample 3</a:t>
            </a:r>
          </a:p>
        </p:txBody>
      </p:sp>
      <p:sp>
        <p:nvSpPr>
          <p:cNvPr id="18" name="Oval 17"/>
          <p:cNvSpPr/>
          <p:nvPr/>
        </p:nvSpPr>
        <p:spPr>
          <a:xfrm>
            <a:off x="1456912" y="2856273"/>
            <a:ext cx="1326457" cy="1135163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68639" tIns="34319" rIns="68639" bIns="34319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6389">
              <a:defRPr/>
            </a:pPr>
            <a:r>
              <a:rPr lang="en-US" sz="1056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9" name="Content Placeholder 22"/>
          <p:cNvSpPr>
            <a:spLocks noGrp="1"/>
          </p:cNvSpPr>
          <p:nvPr/>
        </p:nvSpPr>
        <p:spPr bwMode="auto">
          <a:xfrm>
            <a:off x="2004394" y="4474454"/>
            <a:ext cx="9517841" cy="1003266"/>
          </a:xfrm>
          <a:prstGeom prst="rect">
            <a:avLst/>
          </a:prstGeom>
          <a:solidFill>
            <a:srgbClr val="00B0F0">
              <a:lumMod val="20000"/>
              <a:lumOff val="80000"/>
            </a:srgbClr>
          </a:solidFill>
          <a:ln w="12700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274555" tIns="34319" rIns="34319" bIns="34319" numCol="1" anchor="ctr" anchorCtr="0" compatLnSpc="1">
            <a:prstTxWarp prst="textNoShape">
              <a:avLst/>
            </a:prstTxWarp>
          </a:bodyPr>
          <a:lstStyle>
            <a:lvl1pPr marL="228600" indent="-228600" algn="l" defTabSz="1019175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4080"/>
              </a:buClr>
              <a:buSzPct val="90000"/>
              <a:buFont typeface="Wingdings" pitchFamily="2" charset="2"/>
              <a:buChar char="n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90525" indent="-142875" algn="l" defTabSz="1019175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Arial" pitchFamily="34" charset="0"/>
              <a:buChar char="–"/>
              <a:defRPr sz="1100">
                <a:solidFill>
                  <a:srgbClr val="000000"/>
                </a:solidFill>
                <a:latin typeface="+mn-lt"/>
              </a:defRPr>
            </a:lvl2pPr>
            <a:lvl3pPr marL="504825" indent="-104775" algn="l" defTabSz="1019175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3pPr>
            <a:lvl4pPr marL="904875" indent="-212725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4pPr>
            <a:lvl5pPr marL="11477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5pPr>
            <a:lvl6pPr marL="16049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6pPr>
            <a:lvl7pPr marL="20621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7pPr>
            <a:lvl8pPr marL="25193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8pPr>
            <a:lvl9pPr marL="29765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171597" indent="-171597" defTabSz="765038">
              <a:spcBef>
                <a:spcPts val="450"/>
              </a:spcBef>
              <a:defRPr/>
            </a:pPr>
            <a:r>
              <a:rPr lang="en-US" sz="1056" kern="0"/>
              <a:t>Sample 1</a:t>
            </a:r>
          </a:p>
          <a:p>
            <a:pPr marL="293145" lvl="1" indent="-107248" defTabSz="765038">
              <a:spcBef>
                <a:spcPts val="301"/>
              </a:spcBef>
              <a:defRPr/>
            </a:pPr>
            <a:r>
              <a:rPr lang="en-US" sz="1056" kern="0"/>
              <a:t>Sample 2</a:t>
            </a:r>
          </a:p>
          <a:p>
            <a:pPr marL="378944" lvl="2" indent="-78648" defTabSz="765038">
              <a:spcBef>
                <a:spcPts val="150"/>
              </a:spcBef>
              <a:defRPr/>
            </a:pPr>
            <a:r>
              <a:rPr lang="en-US" sz="1056" kern="0"/>
              <a:t>Sample 3</a:t>
            </a:r>
          </a:p>
        </p:txBody>
      </p:sp>
      <p:sp>
        <p:nvSpPr>
          <p:cNvPr id="20" name="Oval 19"/>
          <p:cNvSpPr/>
          <p:nvPr/>
        </p:nvSpPr>
        <p:spPr>
          <a:xfrm>
            <a:off x="1041675" y="4412240"/>
            <a:ext cx="1326457" cy="1135163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68639" tIns="34319" rIns="68639" bIns="34319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6389">
              <a:defRPr/>
            </a:pPr>
            <a:r>
              <a:rPr lang="en-US" sz="1056" b="1">
                <a:solidFill>
                  <a:srgbClr val="FFFFFF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07501604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C8DA21C-F319-470D-AFEA-38AD1E9E05D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5390381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PP header horizon met logo's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4228" y="407988"/>
            <a:ext cx="12196234" cy="1566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4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59" y="2374900"/>
            <a:ext cx="11110383" cy="1144588"/>
          </a:xfrm>
        </p:spPr>
        <p:txBody>
          <a:bodyPr bIns="45712"/>
          <a:lstStyle>
            <a:lvl1pPr>
              <a:defRPr sz="26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4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759" y="6191264"/>
            <a:ext cx="11110383" cy="417513"/>
          </a:xfrm>
        </p:spPr>
        <p:txBody>
          <a:bodyPr tIns="45712" rIns="91422" bIns="45712"/>
          <a:lstStyle>
            <a:lvl1pPr marL="0" indent="0">
              <a:buFontTx/>
              <a:buNone/>
              <a:defRPr sz="1462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4690798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27634" y="521895"/>
            <a:ext cx="11632606" cy="360363"/>
          </a:xfrm>
        </p:spPr>
        <p:txBody>
          <a:bodyPr/>
          <a:lstStyle>
            <a:lvl1pPr>
              <a:defRPr sz="1462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4"/>
          </p:nvPr>
        </p:nvSpPr>
        <p:spPr>
          <a:xfrm>
            <a:off x="264215" y="167389"/>
            <a:ext cx="4798484" cy="2159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8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746683" y="191632"/>
            <a:ext cx="326444" cy="219391"/>
          </a:xfrm>
          <a:prstGeom prst="rect">
            <a:avLst/>
          </a:prstGeom>
        </p:spPr>
        <p:txBody>
          <a:bodyPr vert="horz" lIns="0" tIns="44098" rIns="69446" bIns="44098" rtlCol="0" anchor="ctr"/>
          <a:lstStyle>
            <a:lvl1pPr algn="l">
              <a:defRPr sz="813" b="1">
                <a:solidFill>
                  <a:schemeClr val="bg1"/>
                </a:solidFill>
                <a:latin typeface="+mn-lt"/>
              </a:defRPr>
            </a:lvl1pPr>
          </a:lstStyle>
          <a:p>
            <a:fld id="{7103653F-4628-4CCA-BBFC-10994C39EA7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5"/>
          </p:nvPr>
        </p:nvSpPr>
        <p:spPr>
          <a:xfrm>
            <a:off x="279263" y="1094248"/>
            <a:ext cx="11613834" cy="5204657"/>
          </a:xfrm>
        </p:spPr>
        <p:txBody>
          <a:bodyPr/>
          <a:lstStyle>
            <a:lvl1pPr>
              <a:defRPr sz="1219">
                <a:latin typeface="Arial" pitchFamily="34" charset="0"/>
                <a:cs typeface="Arial" pitchFamily="34" charset="0"/>
              </a:defRPr>
            </a:lvl1pPr>
            <a:lvl2pPr>
              <a:defRPr sz="1056">
                <a:latin typeface="Arial" pitchFamily="34" charset="0"/>
                <a:cs typeface="Arial" pitchFamily="34" charset="0"/>
              </a:defRPr>
            </a:lvl2pPr>
            <a:lvl3pPr marL="438649" indent="-146217">
              <a:buClr>
                <a:schemeClr val="tx2"/>
              </a:buClr>
              <a:buFont typeface="Wingdings" pitchFamily="2" charset="2"/>
              <a:buChar char="§"/>
              <a:defRPr sz="89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4853175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gray">
          <a:xfrm>
            <a:off x="1761812" y="1832375"/>
            <a:ext cx="9411002" cy="53018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947" tIns="54555" rIns="54555" bIns="54555" anchor="ctr"/>
          <a:lstStyle/>
          <a:p>
            <a:pPr defTabSz="742812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IN" sz="1219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563415" y="1837910"/>
            <a:ext cx="1120543" cy="53018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54555" tIns="54555" rIns="54555" bIns="54555" anchor="ctr"/>
          <a:lstStyle/>
          <a:p>
            <a:pPr algn="ctr" defTabSz="742812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219" b="1" noProof="1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gray">
          <a:xfrm>
            <a:off x="1764493" y="2475358"/>
            <a:ext cx="9411002" cy="49489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947" tIns="54555" rIns="54555" bIns="54555" anchor="ctr"/>
          <a:lstStyle/>
          <a:p>
            <a:pPr defTabSz="742812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219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gray">
          <a:xfrm>
            <a:off x="1772030" y="3081659"/>
            <a:ext cx="9411002" cy="550933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947" tIns="54555" rIns="54555" bIns="54555" anchor="ctr"/>
          <a:lstStyle/>
          <a:p>
            <a:pPr defTabSz="742812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219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9" name="Rectangle 15"/>
          <p:cNvSpPr>
            <a:spLocks noChangeArrowheads="1"/>
          </p:cNvSpPr>
          <p:nvPr userDrawn="1"/>
        </p:nvSpPr>
        <p:spPr bwMode="gray">
          <a:xfrm>
            <a:off x="563408" y="2475358"/>
            <a:ext cx="1093089" cy="49489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54555" tIns="54555" rIns="54555" bIns="54555" anchor="ctr"/>
          <a:lstStyle/>
          <a:p>
            <a:pPr algn="ctr" defTabSz="742812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219" b="1" noProof="1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563408" y="3081648"/>
            <a:ext cx="1093089" cy="53018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54555" tIns="54555" rIns="54555" bIns="54555" anchor="ctr"/>
          <a:lstStyle/>
          <a:p>
            <a:pPr algn="ctr" defTabSz="742812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219" b="1" noProof="1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gray">
          <a:xfrm>
            <a:off x="1772030" y="1210233"/>
            <a:ext cx="9411002" cy="53018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947" tIns="54555" rIns="54555" bIns="54555" anchor="ctr"/>
          <a:lstStyle/>
          <a:p>
            <a:pPr defTabSz="742812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IN" sz="1219" b="1" noProof="1">
                <a:solidFill>
                  <a:srgbClr val="5A245A">
                    <a:lumMod val="90000"/>
                    <a:lumOff val="10000"/>
                  </a:srgbClr>
                </a:solidFill>
              </a:rPr>
              <a:t>Text</a:t>
            </a: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563409" y="1210061"/>
            <a:ext cx="1120543" cy="53018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54555" tIns="54555" rIns="54555" bIns="54555" anchor="ctr"/>
          <a:lstStyle/>
          <a:p>
            <a:pPr algn="ctr" defTabSz="742812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219" b="1" noProof="1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gray">
          <a:xfrm>
            <a:off x="1772024" y="4321228"/>
            <a:ext cx="9411002" cy="550933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947" tIns="54555" rIns="54555" bIns="54555" anchor="ctr"/>
          <a:lstStyle/>
          <a:p>
            <a:pPr defTabSz="742812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219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gray">
          <a:xfrm>
            <a:off x="563408" y="4321213"/>
            <a:ext cx="1093089" cy="53018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54555" tIns="54555" rIns="54555" bIns="54555" anchor="ctr"/>
          <a:lstStyle/>
          <a:p>
            <a:pPr algn="ctr" defTabSz="742812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219" b="1" noProof="1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gray">
          <a:xfrm>
            <a:off x="1772030" y="3725718"/>
            <a:ext cx="9411002" cy="49489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947" tIns="54555" rIns="54555" bIns="54555" anchor="ctr"/>
          <a:lstStyle/>
          <a:p>
            <a:pPr defTabSz="742812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219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6" name="Rectangle 15"/>
          <p:cNvSpPr>
            <a:spLocks noChangeArrowheads="1"/>
          </p:cNvSpPr>
          <p:nvPr userDrawn="1"/>
        </p:nvSpPr>
        <p:spPr bwMode="gray">
          <a:xfrm>
            <a:off x="570945" y="3725718"/>
            <a:ext cx="1093089" cy="49489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54555" tIns="54555" rIns="54555" bIns="54555" anchor="ctr"/>
          <a:lstStyle/>
          <a:p>
            <a:pPr algn="ctr" defTabSz="742812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219" b="1" noProof="1">
                <a:solidFill>
                  <a:srgbClr val="FFFFFF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825918595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gray">
          <a:xfrm>
            <a:off x="1744863" y="2417847"/>
            <a:ext cx="9411002" cy="53018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783" tIns="54511" rIns="54511" bIns="54511" anchor="ctr"/>
          <a:lstStyle/>
          <a:p>
            <a:pPr defTabSz="746604" eaLnBrk="0" hangingPunct="0">
              <a:spcBef>
                <a:spcPct val="25000"/>
              </a:spcBef>
              <a:defRPr/>
            </a:pPr>
            <a:r>
              <a:rPr lang="en-IN" sz="1219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546471" y="1767272"/>
            <a:ext cx="1120543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54511" tIns="54511" rIns="54511" bIns="54511" anchor="ctr"/>
          <a:lstStyle/>
          <a:p>
            <a:pPr algn="ctr" defTabSz="746604" eaLnBrk="0" hangingPunct="0">
              <a:spcBef>
                <a:spcPct val="25000"/>
              </a:spcBef>
              <a:defRPr/>
            </a:pPr>
            <a:r>
              <a:rPr lang="en-US" sz="1219" b="1" noProof="1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gray">
          <a:xfrm>
            <a:off x="1747540" y="3056038"/>
            <a:ext cx="9411002" cy="49489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783" tIns="54511" rIns="54511" bIns="54511" anchor="ctr"/>
          <a:lstStyle/>
          <a:p>
            <a:pPr defTabSz="746604" eaLnBrk="0" hangingPunct="0">
              <a:spcBef>
                <a:spcPct val="25000"/>
              </a:spcBef>
              <a:defRPr/>
            </a:pPr>
            <a:r>
              <a:rPr lang="en-IN" sz="1219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8" name="Rectangle 15"/>
          <p:cNvSpPr>
            <a:spLocks noChangeArrowheads="1"/>
          </p:cNvSpPr>
          <p:nvPr userDrawn="1"/>
        </p:nvSpPr>
        <p:spPr bwMode="gray">
          <a:xfrm>
            <a:off x="546459" y="2404716"/>
            <a:ext cx="1093089" cy="494891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54511" tIns="54511" rIns="54511" bIns="54511" anchor="ctr"/>
          <a:lstStyle/>
          <a:p>
            <a:pPr algn="ctr" defTabSz="746604" eaLnBrk="0" hangingPunct="0">
              <a:spcBef>
                <a:spcPct val="25000"/>
              </a:spcBef>
              <a:defRPr/>
            </a:pPr>
            <a:r>
              <a:rPr lang="en-US" sz="1219" b="1" noProof="1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gray">
          <a:xfrm>
            <a:off x="1755081" y="1139588"/>
            <a:ext cx="9411002" cy="53018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783" tIns="54511" rIns="54511" bIns="54511" anchor="ctr"/>
          <a:lstStyle/>
          <a:p>
            <a:pPr defTabSz="746604" eaLnBrk="0" hangingPunct="0">
              <a:spcBef>
                <a:spcPct val="25000"/>
              </a:spcBef>
              <a:defRPr/>
            </a:pPr>
            <a:r>
              <a:rPr lang="en-IN" sz="1219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546466" y="1139423"/>
            <a:ext cx="1120543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54511" tIns="54511" rIns="54511" bIns="54511" anchor="ctr"/>
          <a:lstStyle/>
          <a:p>
            <a:pPr algn="ctr" defTabSz="746604" eaLnBrk="0" hangingPunct="0">
              <a:spcBef>
                <a:spcPct val="25000"/>
              </a:spcBef>
              <a:defRPr/>
            </a:pPr>
            <a:r>
              <a:rPr lang="en-US" sz="1219" b="1" noProof="1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gray">
          <a:xfrm>
            <a:off x="1755074" y="3676985"/>
            <a:ext cx="9411002" cy="55093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783" tIns="54511" rIns="54511" bIns="54511" anchor="ctr"/>
          <a:lstStyle/>
          <a:p>
            <a:pPr defTabSz="746604" eaLnBrk="0" hangingPunct="0">
              <a:spcBef>
                <a:spcPct val="25000"/>
              </a:spcBef>
              <a:defRPr/>
            </a:pPr>
            <a:r>
              <a:rPr lang="en-US" sz="1219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gray">
          <a:xfrm>
            <a:off x="546457" y="3025654"/>
            <a:ext cx="1093089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54511" tIns="54511" rIns="54511" bIns="54511" anchor="ctr"/>
          <a:lstStyle/>
          <a:p>
            <a:pPr algn="ctr" defTabSz="746604" eaLnBrk="0" hangingPunct="0">
              <a:spcBef>
                <a:spcPct val="25000"/>
              </a:spcBef>
              <a:defRPr/>
            </a:pPr>
            <a:r>
              <a:rPr lang="en-US" sz="1219" b="1" noProof="1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gray">
          <a:xfrm>
            <a:off x="1747540" y="4378585"/>
            <a:ext cx="9411002" cy="55093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783" tIns="54511" rIns="54511" bIns="54511" anchor="ctr"/>
          <a:lstStyle/>
          <a:p>
            <a:pPr defTabSz="746604" eaLnBrk="0" hangingPunct="0">
              <a:spcBef>
                <a:spcPct val="25000"/>
              </a:spcBef>
              <a:defRPr/>
            </a:pPr>
            <a:r>
              <a:rPr lang="en-US" sz="1219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gray">
          <a:xfrm>
            <a:off x="538929" y="3727245"/>
            <a:ext cx="1093089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54511" tIns="54511" rIns="54511" bIns="54511" anchor="ctr"/>
          <a:lstStyle/>
          <a:p>
            <a:pPr algn="ctr" defTabSz="746604" eaLnBrk="0" hangingPunct="0">
              <a:spcBef>
                <a:spcPct val="25000"/>
              </a:spcBef>
              <a:defRPr/>
            </a:pPr>
            <a:r>
              <a:rPr lang="en-US" sz="1219" b="1" noProof="1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gray">
          <a:xfrm>
            <a:off x="1761812" y="1781750"/>
            <a:ext cx="9411002" cy="55093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783" tIns="54511" rIns="54511" bIns="54511" anchor="ctr"/>
          <a:lstStyle/>
          <a:p>
            <a:pPr defTabSz="746604" eaLnBrk="0" hangingPunct="0">
              <a:spcBef>
                <a:spcPct val="25000"/>
              </a:spcBef>
              <a:defRPr/>
            </a:pPr>
            <a:r>
              <a:rPr lang="en-IN" sz="1219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6" name="Rectangle 15"/>
          <p:cNvSpPr>
            <a:spLocks noChangeArrowheads="1"/>
          </p:cNvSpPr>
          <p:nvPr userDrawn="1"/>
        </p:nvSpPr>
        <p:spPr bwMode="gray">
          <a:xfrm>
            <a:off x="534961" y="4429942"/>
            <a:ext cx="1093089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54511" tIns="54511" rIns="54511" bIns="54511" anchor="ctr"/>
          <a:lstStyle/>
          <a:p>
            <a:pPr algn="ctr" defTabSz="746604" eaLnBrk="0" hangingPunct="0">
              <a:spcBef>
                <a:spcPct val="25000"/>
              </a:spcBef>
              <a:defRPr/>
            </a:pPr>
            <a:r>
              <a:rPr lang="en-US" sz="1219" b="1" noProof="1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17" name="Rectangle 4"/>
          <p:cNvSpPr>
            <a:spLocks noChangeArrowheads="1"/>
          </p:cNvSpPr>
          <p:nvPr userDrawn="1"/>
        </p:nvSpPr>
        <p:spPr bwMode="gray">
          <a:xfrm>
            <a:off x="1759507" y="5125725"/>
            <a:ext cx="9411002" cy="55093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783" tIns="54511" rIns="54511" bIns="54511" anchor="ctr"/>
          <a:lstStyle/>
          <a:p>
            <a:pPr defTabSz="746604" eaLnBrk="0" hangingPunct="0">
              <a:spcBef>
                <a:spcPct val="25000"/>
              </a:spcBef>
              <a:defRPr/>
            </a:pPr>
            <a:r>
              <a:rPr lang="en-IN" sz="1219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gray">
          <a:xfrm>
            <a:off x="550894" y="5139320"/>
            <a:ext cx="1093089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54511" tIns="54511" rIns="54511" bIns="54511" anchor="ctr"/>
          <a:lstStyle/>
          <a:p>
            <a:pPr algn="ctr" defTabSz="746604" eaLnBrk="0" hangingPunct="0">
              <a:spcBef>
                <a:spcPct val="25000"/>
              </a:spcBef>
              <a:defRPr/>
            </a:pPr>
            <a:r>
              <a:rPr lang="en-US" sz="1219" b="1" noProof="1">
                <a:solidFill>
                  <a:srgbClr val="FFFFFF"/>
                </a:solidFill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3035902286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27634" y="521895"/>
            <a:ext cx="11632606" cy="360363"/>
          </a:xfrm>
        </p:spPr>
        <p:txBody>
          <a:bodyPr/>
          <a:lstStyle>
            <a:lvl1pPr>
              <a:defRPr sz="1788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4"/>
          </p:nvPr>
        </p:nvSpPr>
        <p:spPr>
          <a:xfrm>
            <a:off x="247787" y="167389"/>
            <a:ext cx="4798484" cy="2159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8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746683" y="205663"/>
            <a:ext cx="326444" cy="219391"/>
          </a:xfrm>
          <a:prstGeom prst="rect">
            <a:avLst/>
          </a:prstGeom>
        </p:spPr>
        <p:txBody>
          <a:bodyPr vert="horz" lIns="0" tIns="44098" rIns="69446" bIns="44098" rtlCol="0" anchor="ctr"/>
          <a:lstStyle>
            <a:lvl1pPr algn="l">
              <a:defRPr sz="813" b="1">
                <a:solidFill>
                  <a:schemeClr val="bg1"/>
                </a:solidFill>
                <a:latin typeface="+mn-lt"/>
              </a:defRPr>
            </a:lvl1pPr>
          </a:lstStyle>
          <a:p>
            <a:fld id="{7103653F-4628-4CCA-BBFC-10994C39EA7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94118" y="1420555"/>
            <a:ext cx="10401366" cy="5121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79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0" name="Oval 25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605213" y="1435743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58">
              <a:defRPr/>
            </a:pPr>
            <a:r>
              <a:rPr lang="en-US" sz="1381" kern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994118" y="2286125"/>
            <a:ext cx="10401366" cy="5555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79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2" name="Oval 26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06425" y="235098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58">
              <a:defRPr/>
            </a:pPr>
            <a:r>
              <a:rPr lang="en-US" sz="1381" kern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994118" y="3195072"/>
            <a:ext cx="10401366" cy="5710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79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4" name="Oval 26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596989" y="3251151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58">
              <a:defRPr/>
            </a:pPr>
            <a:r>
              <a:rPr lang="en-US" sz="1381" ker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994118" y="4119518"/>
            <a:ext cx="10401366" cy="5439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79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6" name="Oval 26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614925" y="415521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58">
              <a:defRPr/>
            </a:pPr>
            <a:r>
              <a:rPr lang="en-US" sz="1381" kern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94118" y="5016841"/>
            <a:ext cx="10401366" cy="4936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129884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8" name="Oval 263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626204" y="504654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58">
              <a:defRPr/>
            </a:pPr>
            <a:r>
              <a:rPr lang="en-US" sz="1381" kern="0">
                <a:solidFill>
                  <a:srgbClr val="FFFFFF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420031929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8" y="167389"/>
            <a:ext cx="670982" cy="215900"/>
          </a:xfrm>
          <a:prstGeom prst="rect">
            <a:avLst/>
          </a:prstGeom>
        </p:spPr>
        <p:txBody>
          <a:bodyPr lIns="91436" tIns="45718" rIns="91436" bIns="45718"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1886076" y="2701587"/>
            <a:ext cx="1408890" cy="54477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5" tIns="42238" rIns="84475" bIns="42238" rtlCol="0" anchor="ctr"/>
          <a:lstStyle/>
          <a:p>
            <a:pPr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246675" y="3336695"/>
            <a:ext cx="1408890" cy="808088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5" tIns="42238" rIns="84475" bIns="42238" rtlCol="0" anchor="ctr"/>
          <a:lstStyle/>
          <a:p>
            <a:pPr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4612536" y="4354210"/>
            <a:ext cx="1408890" cy="201922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5" tIns="42238" rIns="84475" bIns="42238" rtlCol="0" anchor="ctr"/>
          <a:lstStyle/>
          <a:p>
            <a:pPr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525461" y="1492844"/>
            <a:ext cx="11221609" cy="308998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5" tIns="42238" rIns="84475" bIns="42238" rtlCol="0" anchor="ctr"/>
          <a:lstStyle/>
          <a:p>
            <a:pPr algn="ctr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800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1" name="Bent-Up Arrow 20"/>
          <p:cNvSpPr/>
          <p:nvPr userDrawn="1"/>
        </p:nvSpPr>
        <p:spPr>
          <a:xfrm rot="5400000">
            <a:off x="3379880" y="4018558"/>
            <a:ext cx="1099463" cy="1365858"/>
          </a:xfrm>
          <a:prstGeom prst="bentUpArrow">
            <a:avLst>
              <a:gd name="adj1" fmla="val 25000"/>
              <a:gd name="adj2" fmla="val 2589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5" tIns="42238" rIns="84475" bIns="42238" rtlCol="0" anchor="ctr"/>
          <a:lstStyle/>
          <a:p>
            <a:pPr algn="ctr" defTabSz="914231" fontAlgn="base">
              <a:spcBef>
                <a:spcPct val="0"/>
              </a:spcBef>
              <a:spcAft>
                <a:spcPct val="0"/>
              </a:spcAft>
            </a:pPr>
            <a:endParaRPr lang="en-IN" sz="180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1941769" y="1950388"/>
            <a:ext cx="9733391" cy="58047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5" tIns="42238" rIns="84475" bIns="42238" rtlCol="0" anchor="t" anchorCtr="0"/>
          <a:lstStyle/>
          <a:p>
            <a:pPr marL="158390" indent="-158390" defTabSz="914231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1100">
                <a:solidFill>
                  <a:srgbClr val="000000"/>
                </a:solidFill>
              </a:rPr>
              <a:t>Text</a:t>
            </a:r>
          </a:p>
          <a:p>
            <a:pPr marL="158390" indent="-158390" defTabSz="914231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110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3252288" y="2701607"/>
            <a:ext cx="8422873" cy="54620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5" tIns="42238" rIns="84475" bIns="42238" rtlCol="0" anchor="t" anchorCtr="0"/>
          <a:lstStyle/>
          <a:p>
            <a:pPr marL="158390" indent="-158390" defTabSz="914231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1100">
                <a:solidFill>
                  <a:srgbClr val="000000"/>
                </a:solidFill>
              </a:rPr>
              <a:t> </a:t>
            </a:r>
          </a:p>
          <a:p>
            <a:pPr marL="158390" indent="-158390" defTabSz="914231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endParaRPr lang="en-IN" sz="1100">
              <a:solidFill>
                <a:srgbClr val="000000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4667155" y="3336698"/>
            <a:ext cx="7008014" cy="80751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5" tIns="42238" rIns="84475" bIns="42238" rtlCol="0" anchor="t" anchorCtr="0"/>
          <a:lstStyle/>
          <a:p>
            <a:pPr marL="158390" indent="-158390" defTabSz="914231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1100">
                <a:solidFill>
                  <a:srgbClr val="000000"/>
                </a:solidFill>
              </a:rPr>
              <a:t>Text 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6061769" y="4354211"/>
            <a:ext cx="5613409" cy="201922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5" tIns="42238" rIns="84475" bIns="42238" rtlCol="0" anchor="t" anchorCtr="0"/>
          <a:lstStyle/>
          <a:p>
            <a:pPr marL="158390" indent="-158390" defTabSz="914231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1100">
                <a:solidFill>
                  <a:srgbClr val="000000"/>
                </a:solidFill>
              </a:rPr>
              <a:t>Text </a:t>
            </a:r>
          </a:p>
          <a:p>
            <a:pPr marL="158390" indent="-158390" defTabSz="914231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endParaRPr lang="en-IN" sz="1100">
              <a:solidFill>
                <a:srgbClr val="000000"/>
              </a:solidFill>
            </a:endParaRPr>
          </a:p>
        </p:txBody>
      </p:sp>
      <p:sp>
        <p:nvSpPr>
          <p:cNvPr id="26" name="Bent-Up Arrow 25"/>
          <p:cNvSpPr/>
          <p:nvPr userDrawn="1"/>
        </p:nvSpPr>
        <p:spPr>
          <a:xfrm rot="5400000">
            <a:off x="2115664" y="3020745"/>
            <a:ext cx="901433" cy="1360598"/>
          </a:xfrm>
          <a:prstGeom prst="bentUpArrow">
            <a:avLst>
              <a:gd name="adj1" fmla="val 25000"/>
              <a:gd name="adj2" fmla="val 2589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5" tIns="42238" rIns="84475" bIns="42238" rtlCol="0" anchor="ctr"/>
          <a:lstStyle/>
          <a:p>
            <a:pPr algn="ctr" defTabSz="914231" fontAlgn="base">
              <a:spcBef>
                <a:spcPct val="0"/>
              </a:spcBef>
              <a:spcAft>
                <a:spcPct val="0"/>
              </a:spcAft>
            </a:pPr>
            <a:endParaRPr lang="en-IN" sz="1800">
              <a:solidFill>
                <a:srgbClr val="FFFFFF"/>
              </a:solidFill>
            </a:endParaRPr>
          </a:p>
        </p:txBody>
      </p:sp>
      <p:sp>
        <p:nvSpPr>
          <p:cNvPr id="27" name="Bent-Up Arrow 26"/>
          <p:cNvSpPr/>
          <p:nvPr userDrawn="1"/>
        </p:nvSpPr>
        <p:spPr>
          <a:xfrm rot="5400000">
            <a:off x="847276" y="2207558"/>
            <a:ext cx="717007" cy="1360601"/>
          </a:xfrm>
          <a:prstGeom prst="bentUpArrow">
            <a:avLst>
              <a:gd name="adj1" fmla="val 25000"/>
              <a:gd name="adj2" fmla="val 24912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5" tIns="42238" rIns="84475" bIns="42238" rtlCol="0" anchor="ctr"/>
          <a:lstStyle/>
          <a:p>
            <a:pPr algn="ctr" defTabSz="914231" fontAlgn="base">
              <a:spcBef>
                <a:spcPct val="0"/>
              </a:spcBef>
              <a:spcAft>
                <a:spcPct val="0"/>
              </a:spcAft>
            </a:pPr>
            <a:endParaRPr lang="en-IN" sz="1800">
              <a:solidFill>
                <a:srgbClr val="FFFFF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525475" y="1950396"/>
            <a:ext cx="1408890" cy="578957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5" tIns="42238" rIns="84475" bIns="42238" rtlCol="0" anchor="ctr"/>
          <a:lstStyle/>
          <a:p>
            <a:pPr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9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6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876" indent="-179959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23280232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123" y="493827"/>
            <a:ext cx="11843810" cy="360363"/>
          </a:xfrm>
        </p:spPr>
        <p:txBody>
          <a:bodyPr/>
          <a:lstStyle>
            <a:lvl1pPr>
              <a:defRPr sz="1462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25531" y="1008770"/>
            <a:ext cx="11667569" cy="369887"/>
          </a:xfrm>
        </p:spPr>
        <p:txBody>
          <a:bodyPr/>
          <a:lstStyle>
            <a:lvl1pPr>
              <a:buNone/>
              <a:defRPr sz="1219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3234991" y="1596984"/>
            <a:ext cx="8529600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056"/>
            </a:lvl1pPr>
            <a:lvl2pPr>
              <a:spcBef>
                <a:spcPts val="0"/>
              </a:spcBef>
              <a:defRPr sz="1056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3234991" y="4884939"/>
            <a:ext cx="8529600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056"/>
            </a:lvl1pPr>
            <a:lvl2pPr>
              <a:spcBef>
                <a:spcPts val="0"/>
              </a:spcBef>
              <a:defRPr sz="1056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3234991" y="3240961"/>
            <a:ext cx="8529600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056"/>
            </a:lvl1pPr>
            <a:lvl2pPr>
              <a:spcBef>
                <a:spcPts val="0"/>
              </a:spcBef>
              <a:defRPr sz="1056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jdelijke aanduiding voor afbeelding 12"/>
          <p:cNvSpPr>
            <a:spLocks noGrp="1"/>
          </p:cNvSpPr>
          <p:nvPr>
            <p:ph type="pic" sz="quarter" idx="22"/>
          </p:nvPr>
        </p:nvSpPr>
        <p:spPr>
          <a:xfrm>
            <a:off x="312121" y="1596984"/>
            <a:ext cx="2685029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/>
          </p:cNvSpPr>
          <p:nvPr>
            <p:ph type="pic" sz="quarter" idx="23"/>
          </p:nvPr>
        </p:nvSpPr>
        <p:spPr>
          <a:xfrm>
            <a:off x="295692" y="3240961"/>
            <a:ext cx="2699305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5" name="Tijdelijke aanduiding voor afbeelding 12"/>
          <p:cNvSpPr>
            <a:spLocks noGrp="1"/>
          </p:cNvSpPr>
          <p:nvPr>
            <p:ph type="pic" sz="quarter" idx="24"/>
          </p:nvPr>
        </p:nvSpPr>
        <p:spPr>
          <a:xfrm>
            <a:off x="328545" y="4884939"/>
            <a:ext cx="2666450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C7F818-1137-44F4-B6D6-BECAD6B9515E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ftr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3589641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9" y="844553"/>
            <a:ext cx="11110383" cy="360363"/>
          </a:xfrm>
        </p:spPr>
        <p:txBody>
          <a:bodyPr/>
          <a:lstStyle>
            <a:lvl1pPr>
              <a:defRPr sz="1462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37640" y="1513809"/>
            <a:ext cx="11131551" cy="369887"/>
          </a:xfrm>
        </p:spPr>
        <p:txBody>
          <a:bodyPr/>
          <a:lstStyle>
            <a:lvl1pPr>
              <a:buNone/>
              <a:defRPr sz="1219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4339200" y="2088000"/>
            <a:ext cx="7315200" cy="2016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056"/>
            </a:lvl1pPr>
            <a:lvl2pPr>
              <a:spcBef>
                <a:spcPts val="0"/>
              </a:spcBef>
              <a:defRPr sz="1056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4339200" y="4377600"/>
            <a:ext cx="7315200" cy="2016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056"/>
            </a:lvl1pPr>
            <a:lvl2pPr>
              <a:spcBef>
                <a:spcPts val="0"/>
              </a:spcBef>
              <a:defRPr sz="1056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jdelijke aanduiding voor afbeelding 12"/>
          <p:cNvSpPr>
            <a:spLocks noGrp="1" noChangeAspect="1"/>
          </p:cNvSpPr>
          <p:nvPr>
            <p:ph type="pic" sz="quarter" idx="22"/>
          </p:nvPr>
        </p:nvSpPr>
        <p:spPr>
          <a:xfrm>
            <a:off x="539753" y="2088000"/>
            <a:ext cx="3513600" cy="2016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 noChangeAspect="1"/>
          </p:cNvSpPr>
          <p:nvPr>
            <p:ph type="pic" sz="quarter" idx="23"/>
          </p:nvPr>
        </p:nvSpPr>
        <p:spPr>
          <a:xfrm>
            <a:off x="537601" y="4377600"/>
            <a:ext cx="3513600" cy="2016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A22AC8-36D9-4965-81AD-19038FCC0CC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ftr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3048446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9771" y="521890"/>
            <a:ext cx="11698313" cy="360363"/>
          </a:xfrm>
        </p:spPr>
        <p:txBody>
          <a:bodyPr/>
          <a:lstStyle>
            <a:lvl1pPr>
              <a:defRPr sz="1462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443530" y="1919652"/>
            <a:ext cx="560158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056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6387782" y="1919652"/>
            <a:ext cx="5538105" cy="360000"/>
          </a:xfrm>
          <a:solidFill>
            <a:schemeClr val="accent5">
              <a:lumMod val="60000"/>
              <a:lumOff val="40000"/>
            </a:schemeClr>
          </a:solidFill>
        </p:spPr>
        <p:txBody>
          <a:bodyPr lIns="179967" anchor="ctr"/>
          <a:lstStyle>
            <a:lvl1pPr marL="0" indent="0">
              <a:spcBef>
                <a:spcPts val="0"/>
              </a:spcBef>
              <a:buNone/>
              <a:defRPr sz="1056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74806" y="1050863"/>
            <a:ext cx="11716850" cy="369887"/>
          </a:xfrm>
        </p:spPr>
        <p:txBody>
          <a:bodyPr/>
          <a:lstStyle>
            <a:lvl1pPr>
              <a:buNone/>
              <a:defRPr sz="1219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443530" y="2261652"/>
            <a:ext cx="5601580" cy="3927600"/>
          </a:xfrm>
        </p:spPr>
        <p:txBody>
          <a:bodyPr/>
          <a:lstStyle>
            <a:lvl1pPr>
              <a:defRPr sz="1056"/>
            </a:lvl1pPr>
            <a:lvl2pPr>
              <a:defRPr sz="1056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6387847" y="2261652"/>
            <a:ext cx="5538105" cy="3927600"/>
          </a:xfrm>
        </p:spPr>
        <p:txBody>
          <a:bodyPr/>
          <a:lstStyle>
            <a:lvl1pPr>
              <a:defRPr sz="1056"/>
            </a:lvl1pPr>
            <a:lvl2pPr>
              <a:defRPr sz="1056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EDDE4F-381E-4904-8E4A-86B45F5FCC9F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ftr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591405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9" y="844553"/>
            <a:ext cx="11110383" cy="360363"/>
          </a:xfrm>
        </p:spPr>
        <p:txBody>
          <a:bodyPr/>
          <a:lstStyle>
            <a:lvl1pPr>
              <a:defRPr sz="1462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537601" y="2088000"/>
            <a:ext cx="35136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056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4344000" y="2088000"/>
            <a:ext cx="3513600" cy="360000"/>
          </a:xfrm>
          <a:solidFill>
            <a:schemeClr val="bg1">
              <a:lumMod val="85000"/>
            </a:schemeClr>
          </a:solidFill>
        </p:spPr>
        <p:txBody>
          <a:bodyPr lIns="179967" anchor="ctr"/>
          <a:lstStyle>
            <a:lvl1pPr marL="0" indent="0">
              <a:spcBef>
                <a:spcPts val="0"/>
              </a:spcBef>
              <a:buNone/>
              <a:defRPr sz="1056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37640" y="1513809"/>
            <a:ext cx="11131551" cy="369887"/>
          </a:xfrm>
        </p:spPr>
        <p:txBody>
          <a:bodyPr/>
          <a:lstStyle>
            <a:lvl1pPr>
              <a:buNone/>
              <a:defRPr sz="1219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15"/>
          <p:cNvSpPr>
            <a:spLocks noGrp="1"/>
          </p:cNvSpPr>
          <p:nvPr>
            <p:ph type="body" sz="quarter" idx="18"/>
          </p:nvPr>
        </p:nvSpPr>
        <p:spPr>
          <a:xfrm>
            <a:off x="8136001" y="2088000"/>
            <a:ext cx="35136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>
              <a:spcBef>
                <a:spcPts val="0"/>
              </a:spcBef>
              <a:buNone/>
              <a:defRPr sz="1056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537601" y="2430000"/>
            <a:ext cx="3513600" cy="3927600"/>
          </a:xfrm>
        </p:spPr>
        <p:txBody>
          <a:bodyPr/>
          <a:lstStyle>
            <a:lvl1pPr>
              <a:defRPr sz="1056"/>
            </a:lvl1pPr>
            <a:lvl2pPr>
              <a:defRPr sz="1056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4344000" y="2430000"/>
            <a:ext cx="3513600" cy="3927600"/>
          </a:xfrm>
        </p:spPr>
        <p:txBody>
          <a:bodyPr/>
          <a:lstStyle>
            <a:lvl1pPr>
              <a:defRPr sz="1056"/>
            </a:lvl1pPr>
            <a:lvl2pPr>
              <a:defRPr sz="1056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8136001" y="2430000"/>
            <a:ext cx="3513600" cy="3927600"/>
          </a:xfrm>
        </p:spPr>
        <p:txBody>
          <a:bodyPr/>
          <a:lstStyle>
            <a:lvl1pPr>
              <a:defRPr sz="1056"/>
            </a:lvl1pPr>
            <a:lvl2pPr>
              <a:defRPr sz="1056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7271F2-7CBD-49FF-AC82-FB447FEFDDB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ftr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62683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9" y="844553"/>
            <a:ext cx="11110383" cy="360363"/>
          </a:xfrm>
        </p:spPr>
        <p:txBody>
          <a:bodyPr/>
          <a:lstStyle>
            <a:lvl1pPr>
              <a:defRPr sz="1462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537606" y="2088000"/>
            <a:ext cx="11112533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056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37640" y="1513809"/>
            <a:ext cx="11131551" cy="369887"/>
          </a:xfrm>
        </p:spPr>
        <p:txBody>
          <a:bodyPr/>
          <a:lstStyle>
            <a:lvl1pPr>
              <a:buNone/>
              <a:defRPr sz="1219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jdelijke aanduiding voor tekst 10"/>
          <p:cNvSpPr>
            <a:spLocks noGrp="1"/>
          </p:cNvSpPr>
          <p:nvPr>
            <p:ph type="body" sz="quarter" idx="18"/>
          </p:nvPr>
        </p:nvSpPr>
        <p:spPr>
          <a:xfrm>
            <a:off x="537602" y="2448000"/>
            <a:ext cx="11112500" cy="957600"/>
          </a:xfrm>
        </p:spPr>
        <p:txBody>
          <a:bodyPr/>
          <a:lstStyle>
            <a:lvl1pPr>
              <a:spcBef>
                <a:spcPts val="0"/>
              </a:spcBef>
              <a:defRPr sz="1056"/>
            </a:lvl1pPr>
            <a:lvl2pPr>
              <a:spcBef>
                <a:spcPts val="0"/>
              </a:spcBef>
              <a:defRPr sz="1056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ijdelijke aanduiding voor tekst 10"/>
          <p:cNvSpPr>
            <a:spLocks noGrp="1"/>
          </p:cNvSpPr>
          <p:nvPr>
            <p:ph type="body" sz="quarter" idx="19"/>
          </p:nvPr>
        </p:nvSpPr>
        <p:spPr>
          <a:xfrm>
            <a:off x="537638" y="3913200"/>
            <a:ext cx="11112500" cy="957600"/>
          </a:xfrm>
        </p:spPr>
        <p:txBody>
          <a:bodyPr/>
          <a:lstStyle>
            <a:lvl1pPr>
              <a:spcBef>
                <a:spcPts val="0"/>
              </a:spcBef>
              <a:defRPr sz="1056"/>
            </a:lvl1pPr>
            <a:lvl2pPr>
              <a:spcBef>
                <a:spcPts val="0"/>
              </a:spcBef>
              <a:defRPr sz="1056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ijdelijke aanduiding voor tekst 10"/>
          <p:cNvSpPr>
            <a:spLocks noGrp="1"/>
          </p:cNvSpPr>
          <p:nvPr>
            <p:ph type="body" sz="quarter" idx="20"/>
          </p:nvPr>
        </p:nvSpPr>
        <p:spPr>
          <a:xfrm>
            <a:off x="537638" y="5382000"/>
            <a:ext cx="11112500" cy="957600"/>
          </a:xfrm>
        </p:spPr>
        <p:txBody>
          <a:bodyPr/>
          <a:lstStyle>
            <a:lvl1pPr>
              <a:spcBef>
                <a:spcPts val="0"/>
              </a:spcBef>
              <a:defRPr sz="1056"/>
            </a:lvl1pPr>
            <a:lvl2pPr>
              <a:spcBef>
                <a:spcPts val="0"/>
              </a:spcBef>
              <a:defRPr sz="1056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ijdelijke aanduiding voor tekst 15"/>
          <p:cNvSpPr>
            <a:spLocks noGrp="1"/>
          </p:cNvSpPr>
          <p:nvPr>
            <p:ph type="body" sz="quarter" idx="21"/>
          </p:nvPr>
        </p:nvSpPr>
        <p:spPr>
          <a:xfrm>
            <a:off x="537606" y="3553200"/>
            <a:ext cx="11112533" cy="360000"/>
          </a:xfrm>
          <a:solidFill>
            <a:schemeClr val="bg1">
              <a:lumMod val="85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056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ijdelijke aanduiding voor tekst 15"/>
          <p:cNvSpPr>
            <a:spLocks noGrp="1"/>
          </p:cNvSpPr>
          <p:nvPr>
            <p:ph type="body" sz="quarter" idx="22"/>
          </p:nvPr>
        </p:nvSpPr>
        <p:spPr>
          <a:xfrm>
            <a:off x="537639" y="5022000"/>
            <a:ext cx="11112533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056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F3E2E6-0002-40E1-98BA-05E901993722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ftr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2645841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472707" y="1562378"/>
            <a:ext cx="2007593" cy="4761569"/>
            <a:chOff x="404813" y="1566716"/>
            <a:chExt cx="1719262" cy="4774796"/>
          </a:xfrm>
        </p:grpSpPr>
        <p:sp>
          <p:nvSpPr>
            <p:cNvPr id="6" name="Rectangle 5"/>
            <p:cNvSpPr>
              <a:spLocks noChangeArrowheads="1"/>
            </p:cNvSpPr>
            <p:nvPr/>
          </p:nvSpPr>
          <p:spPr bwMode="gray">
            <a:xfrm>
              <a:off x="404813" y="1566716"/>
              <a:ext cx="1719262" cy="968375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74281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56" b="1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7" name="Rectangle 6"/>
            <p:cNvSpPr>
              <a:spLocks noChangeArrowheads="1"/>
            </p:cNvSpPr>
            <p:nvPr/>
          </p:nvSpPr>
          <p:spPr bwMode="gray">
            <a:xfrm>
              <a:off x="404813" y="2836581"/>
              <a:ext cx="1719262" cy="966788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60175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19" b="1">
                  <a:solidFill>
                    <a:srgbClr val="000000"/>
                  </a:solidFill>
                  <a:ea typeface="ＭＳ Ｐゴシック" pitchFamily="34" charset="-128"/>
                </a:rPr>
                <a:t>Text</a:t>
              </a:r>
            </a:p>
          </p:txBody>
        </p:sp>
        <p:sp>
          <p:nvSpPr>
            <p:cNvPr id="8" name="Rectangle 7"/>
            <p:cNvSpPr>
              <a:spLocks noChangeArrowheads="1"/>
            </p:cNvSpPr>
            <p:nvPr/>
          </p:nvSpPr>
          <p:spPr bwMode="gray">
            <a:xfrm>
              <a:off x="404813" y="4104859"/>
              <a:ext cx="1719262" cy="966787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74281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56" b="1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gray">
            <a:xfrm>
              <a:off x="404813" y="5373137"/>
              <a:ext cx="1719262" cy="96837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74281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56" b="1">
                  <a:solidFill>
                    <a:srgbClr val="000000"/>
                  </a:solidFill>
                </a:rPr>
                <a:t>Text</a:t>
              </a:r>
            </a:p>
          </p:txBody>
        </p:sp>
      </p:grpSp>
      <p:sp>
        <p:nvSpPr>
          <p:cNvPr id="10" name="AutoShape 9"/>
          <p:cNvSpPr>
            <a:spLocks noChangeArrowheads="1"/>
          </p:cNvSpPr>
          <p:nvPr userDrawn="1"/>
        </p:nvSpPr>
        <p:spPr bwMode="gray">
          <a:xfrm rot="5400000" flipV="1">
            <a:off x="1340148" y="2447263"/>
            <a:ext cx="310288" cy="420798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43208" tIns="0" rIns="0" bIns="0" anchor="ctr"/>
          <a:lstStyle/>
          <a:p>
            <a:pPr algn="ctr" defTabSz="74281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462" noProof="1">
              <a:solidFill>
                <a:srgbClr val="000000"/>
              </a:solidFill>
            </a:endParaRPr>
          </a:p>
        </p:txBody>
      </p:sp>
      <p:sp>
        <p:nvSpPr>
          <p:cNvPr id="11" name="AutoShape 9"/>
          <p:cNvSpPr>
            <a:spLocks noChangeArrowheads="1"/>
          </p:cNvSpPr>
          <p:nvPr userDrawn="1"/>
        </p:nvSpPr>
        <p:spPr bwMode="gray">
          <a:xfrm rot="5400000" flipV="1">
            <a:off x="1340148" y="3752895"/>
            <a:ext cx="310288" cy="420798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43208" tIns="0" rIns="0" bIns="0" anchor="ctr"/>
          <a:lstStyle/>
          <a:p>
            <a:pPr algn="ctr" defTabSz="74281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462" noProof="1">
              <a:solidFill>
                <a:srgbClr val="000000"/>
              </a:solidFill>
            </a:endParaRPr>
          </a:p>
        </p:txBody>
      </p:sp>
      <p:sp>
        <p:nvSpPr>
          <p:cNvPr id="12" name="AutoShape 9"/>
          <p:cNvSpPr>
            <a:spLocks noChangeArrowheads="1"/>
          </p:cNvSpPr>
          <p:nvPr userDrawn="1"/>
        </p:nvSpPr>
        <p:spPr bwMode="gray">
          <a:xfrm rot="5400000" flipV="1">
            <a:off x="1340148" y="5004241"/>
            <a:ext cx="310288" cy="420798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43208" tIns="0" rIns="0" bIns="0" anchor="ctr"/>
          <a:lstStyle/>
          <a:p>
            <a:pPr algn="ctr" defTabSz="74281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462" noProof="1">
              <a:solidFill>
                <a:srgbClr val="000000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526761" y="1522947"/>
            <a:ext cx="9087087" cy="835759"/>
          </a:xfrm>
          <a:prstGeom prst="rect">
            <a:avLst/>
          </a:prstGeom>
          <a:noFill/>
          <a:ln>
            <a:noFill/>
          </a:ln>
        </p:spPr>
        <p:txBody>
          <a:bodyPr wrap="square" lIns="68631" tIns="34317" rIns="68631" bIns="34317" rtlCol="0">
            <a:spAutoFit/>
          </a:bodyPr>
          <a:lstStyle/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2526761" y="2773675"/>
            <a:ext cx="9087087" cy="835759"/>
          </a:xfrm>
          <a:prstGeom prst="rect">
            <a:avLst/>
          </a:prstGeom>
          <a:noFill/>
          <a:ln>
            <a:noFill/>
          </a:ln>
        </p:spPr>
        <p:txBody>
          <a:bodyPr wrap="square" lIns="68631" tIns="34317" rIns="68631" bIns="34317" rtlCol="0">
            <a:spAutoFit/>
          </a:bodyPr>
          <a:lstStyle/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526761" y="5277871"/>
            <a:ext cx="9087087" cy="835759"/>
          </a:xfrm>
          <a:prstGeom prst="rect">
            <a:avLst/>
          </a:prstGeom>
          <a:noFill/>
          <a:ln>
            <a:noFill/>
          </a:ln>
        </p:spPr>
        <p:txBody>
          <a:bodyPr wrap="square" lIns="68631" tIns="34317" rIns="68631" bIns="34317" rtlCol="0">
            <a:spAutoFit/>
          </a:bodyPr>
          <a:lstStyle/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2526761" y="4023353"/>
            <a:ext cx="9087087" cy="835759"/>
          </a:xfrm>
          <a:prstGeom prst="rect">
            <a:avLst/>
          </a:prstGeom>
          <a:noFill/>
          <a:ln>
            <a:noFill/>
          </a:ln>
        </p:spPr>
        <p:txBody>
          <a:bodyPr wrap="square" lIns="68631" tIns="34317" rIns="68631" bIns="34317" rtlCol="0">
            <a:spAutoFit/>
          </a:bodyPr>
          <a:lstStyle/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7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8"/>
            <a:ext cx="11761676" cy="434891"/>
          </a:xfrm>
        </p:spPr>
        <p:txBody>
          <a:bodyPr/>
          <a:lstStyle>
            <a:lvl1pPr marL="0" indent="0">
              <a:buNone/>
              <a:defRPr sz="1219" b="1">
                <a:latin typeface="Arial" pitchFamily="34" charset="0"/>
                <a:cs typeface="Arial" pitchFamily="34" charset="0"/>
              </a:defRPr>
            </a:lvl1pPr>
            <a:lvl2pPr>
              <a:defRPr sz="1056">
                <a:latin typeface="Arial" pitchFamily="34" charset="0"/>
                <a:cs typeface="Arial" pitchFamily="34" charset="0"/>
              </a:defRPr>
            </a:lvl2pPr>
            <a:lvl3pPr marL="438649" indent="-146217">
              <a:buClr>
                <a:schemeClr val="tx2"/>
              </a:buClr>
              <a:buFont typeface="Wingdings" pitchFamily="2" charset="2"/>
              <a:buChar char="§"/>
              <a:defRPr sz="89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10372203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 userDrawn="1"/>
        </p:nvGraphicFramePr>
        <p:xfrm>
          <a:off x="436025" y="1363807"/>
          <a:ext cx="11094065" cy="5185395"/>
        </p:xfrm>
        <a:graphic>
          <a:graphicData uri="http://schemas.openxmlformats.org/drawingml/2006/table">
            <a:tbl>
              <a:tblPr firstRow="1"/>
              <a:tblGrid>
                <a:gridCol w="4181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592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06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136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5731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5731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IN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N</a:t>
                      </a:r>
                      <a:endParaRPr lang="en-US" sz="1400" b="1" i="0" u="none" strike="noStrike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Area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kern="1200" cap="all">
                          <a:solidFill>
                            <a:srgbClr val="31A93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</a:t>
                      </a:r>
                      <a:endParaRPr lang="en-US" sz="1900" kern="1200">
                        <a:solidFill>
                          <a:srgbClr val="31A93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en-IN" sz="1400" b="1">
                          <a:solidFill>
                            <a:srgbClr val="FF0000"/>
                          </a:solidFill>
                        </a:rPr>
                        <a:t>X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9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1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3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4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7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8"/>
            <a:ext cx="11761676" cy="434891"/>
          </a:xfrm>
        </p:spPr>
        <p:txBody>
          <a:bodyPr/>
          <a:lstStyle>
            <a:lvl1pPr marL="0" indent="0">
              <a:buNone/>
              <a:defRPr sz="1219" b="1">
                <a:latin typeface="Arial" pitchFamily="34" charset="0"/>
                <a:cs typeface="Arial" pitchFamily="34" charset="0"/>
              </a:defRPr>
            </a:lvl1pPr>
            <a:lvl2pPr>
              <a:defRPr sz="1056">
                <a:latin typeface="Arial" pitchFamily="34" charset="0"/>
                <a:cs typeface="Arial" pitchFamily="34" charset="0"/>
              </a:defRPr>
            </a:lvl2pPr>
            <a:lvl3pPr marL="438649" indent="-146217">
              <a:buClr>
                <a:schemeClr val="tx2"/>
              </a:buClr>
              <a:buFont typeface="Wingdings" pitchFamily="2" charset="2"/>
              <a:buChar char="§"/>
              <a:defRPr sz="89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373612886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1886062" y="2701587"/>
            <a:ext cx="1408890" cy="54477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639" tIns="34319" rIns="68639" bIns="34319" rtlCol="0" anchor="ctr"/>
          <a:lstStyle/>
          <a:p>
            <a:pPr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246664" y="3336695"/>
            <a:ext cx="1408890" cy="808088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639" tIns="34319" rIns="68639" bIns="34319" rtlCol="0" anchor="ctr"/>
          <a:lstStyle/>
          <a:p>
            <a:pPr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4612522" y="4354209"/>
            <a:ext cx="1408890" cy="201922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639" tIns="34319" rIns="68639" bIns="34319" rtlCol="0" anchor="ctr"/>
          <a:lstStyle/>
          <a:p>
            <a:pPr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525463" y="1492844"/>
            <a:ext cx="11221609" cy="308998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639" tIns="34319" rIns="68639" bIns="34319" rtlCol="0" anchor="ctr"/>
          <a:lstStyle/>
          <a:p>
            <a:pPr algn="ctr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462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1" name="Bent-Up Arrow 20"/>
          <p:cNvSpPr/>
          <p:nvPr userDrawn="1"/>
        </p:nvSpPr>
        <p:spPr>
          <a:xfrm rot="5400000">
            <a:off x="3379870" y="4018558"/>
            <a:ext cx="1099463" cy="1365860"/>
          </a:xfrm>
          <a:prstGeom prst="bentUpArrow">
            <a:avLst>
              <a:gd name="adj1" fmla="val 25000"/>
              <a:gd name="adj2" fmla="val 2589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639" tIns="34319" rIns="68639" bIns="34319" rtlCol="0" anchor="ctr"/>
          <a:lstStyle/>
          <a:p>
            <a:pPr algn="ctr" defTabSz="742812" fontAlgn="base">
              <a:spcBef>
                <a:spcPct val="0"/>
              </a:spcBef>
              <a:spcAft>
                <a:spcPct val="0"/>
              </a:spcAft>
            </a:pPr>
            <a:endParaRPr lang="en-IN" sz="1462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1941771" y="1950388"/>
            <a:ext cx="9733391" cy="58047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639" tIns="34319" rIns="68639" bIns="34319" rtlCol="0" anchor="t" anchorCtr="0"/>
          <a:lstStyle/>
          <a:p>
            <a:pPr marL="128692" indent="-128692" defTabSz="742812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894">
                <a:solidFill>
                  <a:srgbClr val="000000"/>
                </a:solidFill>
              </a:rPr>
              <a:t>Text</a:t>
            </a:r>
          </a:p>
          <a:p>
            <a:pPr marL="128692" indent="-128692" defTabSz="742812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894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3252289" y="2701592"/>
            <a:ext cx="8422873" cy="54620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639" tIns="34319" rIns="68639" bIns="34319" rtlCol="0" anchor="t" anchorCtr="0"/>
          <a:lstStyle/>
          <a:p>
            <a:pPr marL="128692" indent="-128692" defTabSz="742812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894">
                <a:solidFill>
                  <a:srgbClr val="000000"/>
                </a:solidFill>
              </a:rPr>
              <a:t> </a:t>
            </a:r>
          </a:p>
          <a:p>
            <a:pPr marL="128692" indent="-128692" defTabSz="742812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endParaRPr lang="en-IN" sz="894">
              <a:solidFill>
                <a:srgbClr val="000000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4667150" y="3336698"/>
            <a:ext cx="7008014" cy="80751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639" tIns="34319" rIns="68639" bIns="34319" rtlCol="0" anchor="t" anchorCtr="0"/>
          <a:lstStyle/>
          <a:p>
            <a:pPr marL="128692" indent="-128692" defTabSz="742812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894">
                <a:solidFill>
                  <a:srgbClr val="000000"/>
                </a:solidFill>
              </a:rPr>
              <a:t>Text 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6061760" y="4354210"/>
            <a:ext cx="5613409" cy="201922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639" tIns="34319" rIns="68639" bIns="34319" rtlCol="0" anchor="t" anchorCtr="0"/>
          <a:lstStyle/>
          <a:p>
            <a:pPr marL="128692" indent="-128692" defTabSz="742812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894">
                <a:solidFill>
                  <a:srgbClr val="000000"/>
                </a:solidFill>
              </a:rPr>
              <a:t>Text </a:t>
            </a:r>
          </a:p>
          <a:p>
            <a:pPr marL="128692" indent="-128692" defTabSz="742812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endParaRPr lang="en-IN" sz="894">
              <a:solidFill>
                <a:srgbClr val="000000"/>
              </a:solidFill>
            </a:endParaRPr>
          </a:p>
        </p:txBody>
      </p:sp>
      <p:sp>
        <p:nvSpPr>
          <p:cNvPr id="26" name="Bent-Up Arrow 25"/>
          <p:cNvSpPr/>
          <p:nvPr userDrawn="1"/>
        </p:nvSpPr>
        <p:spPr>
          <a:xfrm rot="5400000">
            <a:off x="2115656" y="3020743"/>
            <a:ext cx="901433" cy="1360598"/>
          </a:xfrm>
          <a:prstGeom prst="bentUpArrow">
            <a:avLst>
              <a:gd name="adj1" fmla="val 25000"/>
              <a:gd name="adj2" fmla="val 2589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639" tIns="34319" rIns="68639" bIns="34319" rtlCol="0" anchor="ctr"/>
          <a:lstStyle/>
          <a:p>
            <a:pPr algn="ctr" defTabSz="742812" fontAlgn="base">
              <a:spcBef>
                <a:spcPct val="0"/>
              </a:spcBef>
              <a:spcAft>
                <a:spcPct val="0"/>
              </a:spcAft>
            </a:pPr>
            <a:endParaRPr lang="en-IN" sz="1462">
              <a:solidFill>
                <a:srgbClr val="FFFFFF"/>
              </a:solidFill>
            </a:endParaRPr>
          </a:p>
        </p:txBody>
      </p:sp>
      <p:sp>
        <p:nvSpPr>
          <p:cNvPr id="27" name="Bent-Up Arrow 26"/>
          <p:cNvSpPr/>
          <p:nvPr userDrawn="1"/>
        </p:nvSpPr>
        <p:spPr>
          <a:xfrm rot="5400000">
            <a:off x="847265" y="2207559"/>
            <a:ext cx="717007" cy="1360601"/>
          </a:xfrm>
          <a:prstGeom prst="bentUpArrow">
            <a:avLst>
              <a:gd name="adj1" fmla="val 25000"/>
              <a:gd name="adj2" fmla="val 24912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639" tIns="34319" rIns="68639" bIns="34319" rtlCol="0" anchor="ctr"/>
          <a:lstStyle/>
          <a:p>
            <a:pPr algn="ctr" defTabSz="742812" fontAlgn="base">
              <a:spcBef>
                <a:spcPct val="0"/>
              </a:spcBef>
              <a:spcAft>
                <a:spcPct val="0"/>
              </a:spcAft>
            </a:pPr>
            <a:endParaRPr lang="en-IN" sz="1462">
              <a:solidFill>
                <a:srgbClr val="FFFFF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525464" y="1950398"/>
            <a:ext cx="1408890" cy="578957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639" tIns="34319" rIns="68639" bIns="34319" rtlCol="0" anchor="ctr"/>
          <a:lstStyle/>
          <a:p>
            <a:pPr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9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8"/>
            <a:ext cx="11761676" cy="434891"/>
          </a:xfrm>
        </p:spPr>
        <p:txBody>
          <a:bodyPr/>
          <a:lstStyle>
            <a:lvl1pPr marL="0" indent="0">
              <a:buNone/>
              <a:defRPr sz="1219" b="1">
                <a:latin typeface="Arial" pitchFamily="34" charset="0"/>
                <a:cs typeface="Arial" pitchFamily="34" charset="0"/>
              </a:defRPr>
            </a:lvl1pPr>
            <a:lvl2pPr>
              <a:defRPr sz="1056">
                <a:latin typeface="Arial" pitchFamily="34" charset="0"/>
                <a:cs typeface="Arial" pitchFamily="34" charset="0"/>
              </a:defRPr>
            </a:lvl2pPr>
            <a:lvl3pPr marL="438649" indent="-146217">
              <a:buClr>
                <a:schemeClr val="tx2"/>
              </a:buClr>
              <a:buFont typeface="Wingdings" pitchFamily="2" charset="2"/>
              <a:buChar char="§"/>
              <a:defRPr sz="89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093664682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/>
        </p:nvGraphicFramePr>
        <p:xfrm>
          <a:off x="279270" y="1349769"/>
          <a:ext cx="11712395" cy="5061360"/>
        </p:xfrm>
        <a:graphic>
          <a:graphicData uri="http://schemas.openxmlformats.org/drawingml/2006/table">
            <a:tbl>
              <a:tblPr firstRow="1"/>
              <a:tblGrid>
                <a:gridCol w="3534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466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251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8871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IN" sz="14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SN</a:t>
                      </a:r>
                      <a:endParaRPr lang="en-US" sz="14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Area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Progress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Remarks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6187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1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ctr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kern="1200">
                        <a:solidFill>
                          <a:srgbClr val="31A93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037" marR="42037" marT="35900" marB="3590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lvl="0" indent="0" algn="l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>
                        <a:solidFill>
                          <a:srgbClr val="31A93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6187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2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kern="1200">
                        <a:solidFill>
                          <a:srgbClr val="FF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037" marR="42037" marT="35900" marB="3590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3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4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6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7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8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9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10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6" name="Up Arrow 5"/>
          <p:cNvSpPr/>
          <p:nvPr userDrawn="1"/>
        </p:nvSpPr>
        <p:spPr bwMode="auto">
          <a:xfrm>
            <a:off x="6422926" y="1879849"/>
            <a:ext cx="252224" cy="323102"/>
          </a:xfrm>
          <a:prstGeom prst="upArrow">
            <a:avLst/>
          </a:prstGeom>
          <a:solidFill>
            <a:srgbClr val="00B050"/>
          </a:solidFill>
          <a:ln w="19050" cap="flat" cmpd="sng" algn="ctr">
            <a:solidFill>
              <a:srgbClr val="00B05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68639" tIns="34319" rIns="68639" bIns="34319" numCol="1" rtlCol="0" anchor="ctr" anchorCtr="0" compatLnSpc="1">
            <a:prstTxWarp prst="textNoShape">
              <a:avLst/>
            </a:prstTxWarp>
          </a:bodyPr>
          <a:lstStyle/>
          <a:p>
            <a:pPr algn="ctr" defTabSz="686358" fontAlgn="base">
              <a:spcBef>
                <a:spcPct val="0"/>
              </a:spcBef>
              <a:spcAft>
                <a:spcPct val="0"/>
              </a:spcAft>
            </a:pPr>
            <a:endParaRPr lang="en-IN" sz="1381">
              <a:solidFill>
                <a:srgbClr val="000000"/>
              </a:solidFill>
            </a:endParaRPr>
          </a:p>
        </p:txBody>
      </p:sp>
      <p:sp>
        <p:nvSpPr>
          <p:cNvPr id="7" name="Up Arrow 6"/>
          <p:cNvSpPr/>
          <p:nvPr userDrawn="1"/>
        </p:nvSpPr>
        <p:spPr bwMode="auto">
          <a:xfrm>
            <a:off x="6422926" y="2833804"/>
            <a:ext cx="252224" cy="323102"/>
          </a:xfrm>
          <a:prstGeom prst="upArrow">
            <a:avLst/>
          </a:prstGeom>
          <a:solidFill>
            <a:srgbClr val="00B050"/>
          </a:solidFill>
          <a:ln w="19050" cap="flat" cmpd="sng" algn="ctr">
            <a:solidFill>
              <a:srgbClr val="00B05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68639" tIns="34319" rIns="68639" bIns="34319" numCol="1" rtlCol="0" anchor="ctr" anchorCtr="0" compatLnSpc="1">
            <a:prstTxWarp prst="textNoShape">
              <a:avLst/>
            </a:prstTxWarp>
          </a:bodyPr>
          <a:lstStyle/>
          <a:p>
            <a:pPr algn="ctr" defTabSz="686358" fontAlgn="base">
              <a:spcBef>
                <a:spcPct val="0"/>
              </a:spcBef>
              <a:spcAft>
                <a:spcPct val="0"/>
              </a:spcAft>
            </a:pPr>
            <a:endParaRPr lang="en-IN" sz="1381">
              <a:solidFill>
                <a:srgbClr val="000000"/>
              </a:solidFill>
            </a:endParaRPr>
          </a:p>
        </p:txBody>
      </p:sp>
      <p:sp>
        <p:nvSpPr>
          <p:cNvPr id="8" name="Up Arrow 7"/>
          <p:cNvSpPr/>
          <p:nvPr userDrawn="1"/>
        </p:nvSpPr>
        <p:spPr bwMode="auto">
          <a:xfrm flipV="1">
            <a:off x="6422926" y="2384886"/>
            <a:ext cx="252224" cy="323102"/>
          </a:xfrm>
          <a:prstGeom prst="upArrow">
            <a:avLst/>
          </a:prstGeom>
          <a:solidFill>
            <a:srgbClr val="EB5335"/>
          </a:solidFill>
          <a:ln w="19050" cap="flat" cmpd="sng" algn="ctr">
            <a:solidFill>
              <a:srgbClr val="EB5335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68639" tIns="34319" rIns="68639" bIns="34319" numCol="1" rtlCol="0" anchor="ctr" anchorCtr="0" compatLnSpc="1">
            <a:prstTxWarp prst="textNoShape">
              <a:avLst/>
            </a:prstTxWarp>
          </a:bodyPr>
          <a:lstStyle/>
          <a:p>
            <a:pPr algn="ctr" defTabSz="686358" fontAlgn="base">
              <a:spcBef>
                <a:spcPct val="0"/>
              </a:spcBef>
              <a:spcAft>
                <a:spcPct val="0"/>
              </a:spcAft>
            </a:pPr>
            <a:endParaRPr lang="en-IN" sz="1381">
              <a:solidFill>
                <a:srgbClr val="000000"/>
              </a:solidFill>
            </a:endParaRP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8"/>
            <a:ext cx="11761676" cy="434891"/>
          </a:xfrm>
        </p:spPr>
        <p:txBody>
          <a:bodyPr/>
          <a:lstStyle>
            <a:lvl1pPr marL="0" indent="0">
              <a:buNone/>
              <a:defRPr sz="1219" b="1">
                <a:latin typeface="Arial" pitchFamily="34" charset="0"/>
                <a:cs typeface="Arial" pitchFamily="34" charset="0"/>
              </a:defRPr>
            </a:lvl1pPr>
            <a:lvl2pPr>
              <a:defRPr sz="1056">
                <a:latin typeface="Arial" pitchFamily="34" charset="0"/>
                <a:cs typeface="Arial" pitchFamily="34" charset="0"/>
              </a:defRPr>
            </a:lvl2pPr>
            <a:lvl3pPr marL="438649" indent="-146217">
              <a:buClr>
                <a:schemeClr val="tx2"/>
              </a:buClr>
              <a:buFont typeface="Wingdings" pitchFamily="2" charset="2"/>
              <a:buChar char="§"/>
              <a:defRPr sz="89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230063960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6195" y="1140008"/>
            <a:ext cx="11332606" cy="5121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79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6" name="Oval 25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237297" y="1155192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58">
              <a:defRPr/>
            </a:pPr>
            <a:r>
              <a:rPr lang="en-US" sz="1381" kern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626195" y="2005567"/>
            <a:ext cx="11332606" cy="5555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79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" name="Oval 26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238509" y="207043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58">
              <a:defRPr/>
            </a:pPr>
            <a:r>
              <a:rPr lang="en-US" sz="1381" kern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26195" y="2914521"/>
            <a:ext cx="11332606" cy="5710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79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0" name="Oval 26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229070" y="2970600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58">
              <a:defRPr/>
            </a:pPr>
            <a:r>
              <a:rPr lang="en-US" sz="1381" ker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626195" y="3838963"/>
            <a:ext cx="11332606" cy="5439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79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2" name="Oval 26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247009" y="3874664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58">
              <a:defRPr/>
            </a:pPr>
            <a:r>
              <a:rPr lang="en-US" sz="1381" kern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626195" y="4736287"/>
            <a:ext cx="11332606" cy="4936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129884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4" name="Oval 263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258279" y="4765994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58">
              <a:defRPr/>
            </a:pPr>
            <a:r>
              <a:rPr lang="en-US" sz="1381" kern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626195" y="5521901"/>
            <a:ext cx="11332606" cy="4936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129884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6" name="Oval 263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258279" y="555160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58">
              <a:defRPr/>
            </a:pPr>
            <a:r>
              <a:rPr lang="en-US" sz="1381" kern="0">
                <a:solidFill>
                  <a:srgbClr val="FFFFFF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71074157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8" y="167389"/>
            <a:ext cx="670982" cy="215900"/>
          </a:xfrm>
          <a:prstGeom prst="rect">
            <a:avLst/>
          </a:prstGeom>
        </p:spPr>
        <p:txBody>
          <a:bodyPr lIns="91436" tIns="45718" rIns="91436" bIns="45718"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11022256"/>
              </p:ext>
            </p:extLst>
          </p:nvPr>
        </p:nvGraphicFramePr>
        <p:xfrm>
          <a:off x="279268" y="1349770"/>
          <a:ext cx="11712395" cy="5061360"/>
        </p:xfrm>
        <a:graphic>
          <a:graphicData uri="http://schemas.openxmlformats.org/drawingml/2006/table">
            <a:tbl>
              <a:tblPr firstRow="1"/>
              <a:tblGrid>
                <a:gridCol w="3534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466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251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8871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IN" sz="14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SN</a:t>
                      </a:r>
                      <a:endParaRPr lang="en-US" sz="14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Area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Progress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Remarks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6187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1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ctr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kern="1200">
                        <a:solidFill>
                          <a:srgbClr val="31A93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037" marR="42037" marT="35900" marB="3590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lvl="0" indent="0" algn="l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>
                        <a:solidFill>
                          <a:srgbClr val="31A93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6187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2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kern="1200">
                        <a:solidFill>
                          <a:srgbClr val="FF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037" marR="42037" marT="35900" marB="3590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3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4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6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7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8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9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10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6" name="Up Arrow 5"/>
          <p:cNvSpPr/>
          <p:nvPr userDrawn="1"/>
        </p:nvSpPr>
        <p:spPr bwMode="auto">
          <a:xfrm>
            <a:off x="6422927" y="1879849"/>
            <a:ext cx="252224" cy="323102"/>
          </a:xfrm>
          <a:prstGeom prst="upArrow">
            <a:avLst/>
          </a:prstGeom>
          <a:solidFill>
            <a:srgbClr val="00B050"/>
          </a:solidFill>
          <a:ln w="19050" cap="flat" cmpd="sng" algn="ctr">
            <a:solidFill>
              <a:srgbClr val="00B05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84475" tIns="42238" rIns="84475" bIns="42238" numCol="1" rtlCol="0" anchor="ctr" anchorCtr="0" compatLnSpc="1">
            <a:prstTxWarp prst="textNoShape">
              <a:avLst/>
            </a:prstTxWarp>
          </a:bodyPr>
          <a:lstStyle/>
          <a:p>
            <a:pPr algn="ctr" defTabSz="844748" fontAlgn="base">
              <a:spcBef>
                <a:spcPct val="0"/>
              </a:spcBef>
              <a:spcAft>
                <a:spcPct val="0"/>
              </a:spcAft>
            </a:pPr>
            <a:endParaRPr lang="en-IN" sz="1700">
              <a:solidFill>
                <a:srgbClr val="000000"/>
              </a:solidFill>
            </a:endParaRPr>
          </a:p>
        </p:txBody>
      </p:sp>
      <p:sp>
        <p:nvSpPr>
          <p:cNvPr id="7" name="Up Arrow 6"/>
          <p:cNvSpPr/>
          <p:nvPr userDrawn="1"/>
        </p:nvSpPr>
        <p:spPr bwMode="auto">
          <a:xfrm>
            <a:off x="6422927" y="2833804"/>
            <a:ext cx="252224" cy="323102"/>
          </a:xfrm>
          <a:prstGeom prst="upArrow">
            <a:avLst/>
          </a:prstGeom>
          <a:solidFill>
            <a:srgbClr val="00B050"/>
          </a:solidFill>
          <a:ln w="19050" cap="flat" cmpd="sng" algn="ctr">
            <a:solidFill>
              <a:srgbClr val="00B05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84475" tIns="42238" rIns="84475" bIns="42238" numCol="1" rtlCol="0" anchor="ctr" anchorCtr="0" compatLnSpc="1">
            <a:prstTxWarp prst="textNoShape">
              <a:avLst/>
            </a:prstTxWarp>
          </a:bodyPr>
          <a:lstStyle/>
          <a:p>
            <a:pPr algn="ctr" defTabSz="844748" fontAlgn="base">
              <a:spcBef>
                <a:spcPct val="0"/>
              </a:spcBef>
              <a:spcAft>
                <a:spcPct val="0"/>
              </a:spcAft>
            </a:pPr>
            <a:endParaRPr lang="en-IN" sz="1700">
              <a:solidFill>
                <a:srgbClr val="000000"/>
              </a:solidFill>
            </a:endParaRPr>
          </a:p>
        </p:txBody>
      </p:sp>
      <p:sp>
        <p:nvSpPr>
          <p:cNvPr id="8" name="Up Arrow 7"/>
          <p:cNvSpPr/>
          <p:nvPr userDrawn="1"/>
        </p:nvSpPr>
        <p:spPr bwMode="auto">
          <a:xfrm flipV="1">
            <a:off x="6422927" y="2384885"/>
            <a:ext cx="252224" cy="323102"/>
          </a:xfrm>
          <a:prstGeom prst="upArrow">
            <a:avLst/>
          </a:prstGeom>
          <a:solidFill>
            <a:srgbClr val="EB5335"/>
          </a:solidFill>
          <a:ln w="19050" cap="flat" cmpd="sng" algn="ctr">
            <a:solidFill>
              <a:srgbClr val="EB5335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84475" tIns="42238" rIns="84475" bIns="42238" numCol="1" rtlCol="0" anchor="ctr" anchorCtr="0" compatLnSpc="1">
            <a:prstTxWarp prst="textNoShape">
              <a:avLst/>
            </a:prstTxWarp>
          </a:bodyPr>
          <a:lstStyle/>
          <a:p>
            <a:pPr algn="ctr" defTabSz="844748" fontAlgn="base">
              <a:spcBef>
                <a:spcPct val="0"/>
              </a:spcBef>
              <a:spcAft>
                <a:spcPct val="0"/>
              </a:spcAft>
            </a:pPr>
            <a:endParaRPr lang="en-IN" sz="1700">
              <a:solidFill>
                <a:srgbClr val="000000"/>
              </a:solidFill>
            </a:endParaRP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6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876" indent="-179959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055314779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805499" y="1659047"/>
            <a:ext cx="6126673" cy="6897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79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6" name="Oval 25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513637" y="1772438"/>
            <a:ext cx="546486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58">
              <a:defRPr/>
            </a:pPr>
            <a:r>
              <a:rPr lang="en-US" sz="1381" kern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805499" y="2524606"/>
            <a:ext cx="6126673" cy="7481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79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" name="Oval 26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14853" y="2673652"/>
            <a:ext cx="546486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58">
              <a:defRPr/>
            </a:pPr>
            <a:r>
              <a:rPr lang="en-US" sz="1381" kern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5499" y="3433565"/>
            <a:ext cx="6126673" cy="76902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79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0" name="Oval 26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505414" y="3587847"/>
            <a:ext cx="546486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58">
              <a:defRPr/>
            </a:pPr>
            <a:r>
              <a:rPr lang="en-US" sz="1381" ker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805499" y="4358005"/>
            <a:ext cx="6126673" cy="7325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79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2" name="Oval 26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523354" y="4491910"/>
            <a:ext cx="546486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58">
              <a:defRPr/>
            </a:pPr>
            <a:r>
              <a:rPr lang="en-US" sz="1381" kern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805499" y="5255341"/>
            <a:ext cx="6126673" cy="66479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79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4" name="Oval 263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485340" y="5341154"/>
            <a:ext cx="546486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68639" tIns="34319" rIns="68639" bIns="34319" anchor="ctr"/>
          <a:lstStyle/>
          <a:p>
            <a:pPr algn="ctr" defTabSz="686358">
              <a:defRPr/>
            </a:pPr>
            <a:r>
              <a:rPr lang="en-US" sz="1381" kern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9478895" y="1667819"/>
            <a:ext cx="2233504" cy="689739"/>
          </a:xfrm>
          <a:prstGeom prst="rect">
            <a:avLst/>
          </a:prstGeom>
          <a:solidFill>
            <a:srgbClr val="E2FFC5"/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79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9478895" y="2533378"/>
            <a:ext cx="2233504" cy="748180"/>
          </a:xfrm>
          <a:prstGeom prst="rect">
            <a:avLst/>
          </a:prstGeom>
          <a:solidFill>
            <a:srgbClr val="E2FFC5"/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79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478895" y="3442338"/>
            <a:ext cx="2233504" cy="769026"/>
          </a:xfrm>
          <a:prstGeom prst="rect">
            <a:avLst/>
          </a:prstGeom>
          <a:solidFill>
            <a:srgbClr val="E2FFC5"/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79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9478895" y="4366781"/>
            <a:ext cx="2233504" cy="732512"/>
          </a:xfrm>
          <a:prstGeom prst="rect">
            <a:avLst/>
          </a:prstGeom>
          <a:solidFill>
            <a:srgbClr val="E2FFC5"/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79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9478895" y="5264117"/>
            <a:ext cx="2233504" cy="664795"/>
          </a:xfrm>
          <a:prstGeom prst="rect">
            <a:avLst/>
          </a:prstGeom>
          <a:solidFill>
            <a:srgbClr val="E2FFC5"/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129884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7096987" y="1667819"/>
            <a:ext cx="2233504" cy="689739"/>
          </a:xfrm>
          <a:prstGeom prst="rect">
            <a:avLst/>
          </a:prstGeom>
          <a:solidFill>
            <a:srgbClr val="F8D9FF"/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79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7096987" y="2533378"/>
            <a:ext cx="2233504" cy="748180"/>
          </a:xfrm>
          <a:prstGeom prst="rect">
            <a:avLst/>
          </a:prstGeom>
          <a:solidFill>
            <a:srgbClr val="F8D9FF"/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79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7096987" y="3442338"/>
            <a:ext cx="2233504" cy="769026"/>
          </a:xfrm>
          <a:prstGeom prst="rect">
            <a:avLst/>
          </a:prstGeom>
          <a:solidFill>
            <a:srgbClr val="F8D9FF"/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79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7096987" y="4366781"/>
            <a:ext cx="2233504" cy="732512"/>
          </a:xfrm>
          <a:prstGeom prst="rect">
            <a:avLst/>
          </a:prstGeom>
          <a:solidFill>
            <a:srgbClr val="F8D9FF"/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79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7096987" y="5264117"/>
            <a:ext cx="2233504" cy="664795"/>
          </a:xfrm>
          <a:prstGeom prst="rect">
            <a:avLst/>
          </a:prstGeom>
          <a:solidFill>
            <a:srgbClr val="F8D9FF"/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79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7409361" y="1306400"/>
            <a:ext cx="997828" cy="256924"/>
          </a:xfrm>
          <a:prstGeom prst="rect">
            <a:avLst/>
          </a:prstGeom>
          <a:noFill/>
        </p:spPr>
        <p:txBody>
          <a:bodyPr wrap="none" lIns="68639" tIns="34319" rIns="68639" bIns="34319" rtlCol="0">
            <a:spAutoFit/>
          </a:bodyPr>
          <a:lstStyle/>
          <a:p>
            <a:pPr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Description</a:t>
            </a:r>
            <a:endParaRPr lang="en-US" sz="1219" b="1">
              <a:solidFill>
                <a:srgbClr val="000000"/>
              </a:solidFill>
            </a:endParaRPr>
          </a:p>
        </p:txBody>
      </p:sp>
      <p:sp>
        <p:nvSpPr>
          <p:cNvPr id="26" name="TextBox 25"/>
          <p:cNvSpPr txBox="1"/>
          <p:nvPr userDrawn="1"/>
        </p:nvSpPr>
        <p:spPr>
          <a:xfrm>
            <a:off x="9796356" y="1290680"/>
            <a:ext cx="997828" cy="256924"/>
          </a:xfrm>
          <a:prstGeom prst="rect">
            <a:avLst/>
          </a:prstGeom>
          <a:noFill/>
        </p:spPr>
        <p:txBody>
          <a:bodyPr wrap="none" lIns="68639" tIns="34319" rIns="68639" bIns="34319" rtlCol="0">
            <a:spAutoFit/>
          </a:bodyPr>
          <a:lstStyle/>
          <a:p>
            <a:pPr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Description</a:t>
            </a:r>
            <a:endParaRPr lang="en-US" sz="1219" b="1">
              <a:solidFill>
                <a:srgbClr val="000000"/>
              </a:solidFill>
            </a:endParaRPr>
          </a:p>
        </p:txBody>
      </p:sp>
      <p:sp>
        <p:nvSpPr>
          <p:cNvPr id="27" name="TextBox 26"/>
          <p:cNvSpPr txBox="1"/>
          <p:nvPr userDrawn="1"/>
        </p:nvSpPr>
        <p:spPr>
          <a:xfrm>
            <a:off x="805492" y="1306433"/>
            <a:ext cx="997828" cy="256924"/>
          </a:xfrm>
          <a:prstGeom prst="rect">
            <a:avLst/>
          </a:prstGeom>
          <a:noFill/>
        </p:spPr>
        <p:txBody>
          <a:bodyPr wrap="none" lIns="68639" tIns="34319" rIns="68639" bIns="34319" rtlCol="0">
            <a:spAutoFit/>
          </a:bodyPr>
          <a:lstStyle/>
          <a:p>
            <a:pPr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Description</a:t>
            </a:r>
            <a:endParaRPr lang="en-US" sz="1219" b="1">
              <a:solidFill>
                <a:srgbClr val="000000"/>
              </a:solidFill>
            </a:endParaRPr>
          </a:p>
        </p:txBody>
      </p:sp>
      <p:sp>
        <p:nvSpPr>
          <p:cNvPr id="28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8"/>
            <a:ext cx="11761676" cy="434891"/>
          </a:xfrm>
        </p:spPr>
        <p:txBody>
          <a:bodyPr/>
          <a:lstStyle>
            <a:lvl1pPr marL="0" indent="0">
              <a:buNone/>
              <a:defRPr sz="1219" b="1">
                <a:latin typeface="Arial" pitchFamily="34" charset="0"/>
                <a:cs typeface="Arial" pitchFamily="34" charset="0"/>
              </a:defRPr>
            </a:lvl1pPr>
            <a:lvl2pPr>
              <a:defRPr sz="1056">
                <a:latin typeface="Arial" pitchFamily="34" charset="0"/>
                <a:cs typeface="Arial" pitchFamily="34" charset="0"/>
              </a:defRPr>
            </a:lvl2pPr>
            <a:lvl3pPr marL="438649" indent="-146217">
              <a:buClr>
                <a:schemeClr val="tx2"/>
              </a:buClr>
              <a:buFont typeface="Wingdings" pitchFamily="2" charset="2"/>
              <a:buChar char="§"/>
              <a:defRPr sz="89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270198939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aphicFrame>
        <p:nvGraphicFramePr>
          <p:cNvPr id="5" name="Content Placeholder 3"/>
          <p:cNvGraphicFramePr>
            <a:graphicFrameLocks/>
          </p:cNvGraphicFramePr>
          <p:nvPr userDrawn="1"/>
        </p:nvGraphicFramePr>
        <p:xfrm>
          <a:off x="525665" y="1463065"/>
          <a:ext cx="11153881" cy="5183727"/>
        </p:xfrm>
        <a:graphic>
          <a:graphicData uri="http://schemas.openxmlformats.org/drawingml/2006/table">
            <a:tbl>
              <a:tblPr firstRow="1" bandRow="1"/>
              <a:tblGrid>
                <a:gridCol w="5256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98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2483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5916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SN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Particulars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Remarks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4461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1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endParaRPr lang="en-US" sz="1400" baseline="0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226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2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6669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3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0113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4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8"/>
            <a:ext cx="11761676" cy="434891"/>
          </a:xfrm>
        </p:spPr>
        <p:txBody>
          <a:bodyPr/>
          <a:lstStyle>
            <a:lvl1pPr marL="0" indent="0">
              <a:buNone/>
              <a:defRPr sz="1219" b="1">
                <a:latin typeface="Arial" pitchFamily="34" charset="0"/>
                <a:cs typeface="Arial" pitchFamily="34" charset="0"/>
              </a:defRPr>
            </a:lvl1pPr>
            <a:lvl2pPr>
              <a:defRPr sz="1056">
                <a:latin typeface="Arial" pitchFamily="34" charset="0"/>
                <a:cs typeface="Arial" pitchFamily="34" charset="0"/>
              </a:defRPr>
            </a:lvl2pPr>
            <a:lvl3pPr marL="438649" indent="-146217">
              <a:buClr>
                <a:schemeClr val="tx2"/>
              </a:buClr>
              <a:buFont typeface="Wingdings" pitchFamily="2" charset="2"/>
              <a:buChar char="§"/>
              <a:defRPr sz="89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153253256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/>
        </p:nvGraphicFramePr>
        <p:xfrm>
          <a:off x="525667" y="1401717"/>
          <a:ext cx="11137454" cy="2348293"/>
        </p:xfrm>
        <a:graphic>
          <a:graphicData uri="http://schemas.openxmlformats.org/drawingml/2006/table">
            <a:tbl>
              <a:tblPr/>
              <a:tblGrid>
                <a:gridCol w="20236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39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677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20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633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7986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6343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71044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75259">
                <a:tc>
                  <a:txBody>
                    <a:bodyPr/>
                    <a:lstStyle/>
                    <a:p>
                      <a:pPr algn="ctr" fontAlgn="b"/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oM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Change Q/Q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Change Y/Y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marks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6" name="Group 5"/>
          <p:cNvGrpSpPr/>
          <p:nvPr userDrawn="1"/>
        </p:nvGrpSpPr>
        <p:grpSpPr>
          <a:xfrm>
            <a:off x="530983" y="4193069"/>
            <a:ext cx="11148564" cy="2232086"/>
            <a:chOff x="123367" y="5147491"/>
            <a:chExt cx="8864071" cy="1583827"/>
          </a:xfrm>
        </p:grpSpPr>
        <p:sp>
          <p:nvSpPr>
            <p:cNvPr id="7" name="Tijdelijke aanduiding voor verticale tekst 24"/>
            <p:cNvSpPr txBox="1">
              <a:spLocks/>
            </p:cNvSpPr>
            <p:nvPr/>
          </p:nvSpPr>
          <p:spPr>
            <a:xfrm>
              <a:off x="123367" y="5405493"/>
              <a:ext cx="8864069" cy="1325825"/>
            </a:xfrm>
            <a:prstGeom prst="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 vert="horz" lIns="91440" tIns="45720" rIns="91440" bIns="45720" rtlCol="0">
              <a:norm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3923" lvl="1" fontAlgn="base">
                <a:spcAft>
                  <a:spcPct val="0"/>
                </a:spcAft>
                <a:buFont typeface="Wingdings" pitchFamily="2" charset="2"/>
                <a:buChar char="§"/>
              </a:pPr>
              <a:r>
                <a:rPr lang="en-GB" sz="1056">
                  <a:solidFill>
                    <a:srgbClr val="000000"/>
                  </a:solidFill>
                </a:rPr>
                <a:t>Text</a:t>
              </a:r>
              <a:endParaRPr lang="en-GB" sz="894">
                <a:solidFill>
                  <a:srgbClr val="000000"/>
                </a:solidFill>
              </a:endParaRPr>
            </a:p>
          </p:txBody>
        </p:sp>
        <p:sp>
          <p:nvSpPr>
            <p:cNvPr id="8" name="Tijdelijke aanduiding voor verticale tekst 25"/>
            <p:cNvSpPr txBox="1">
              <a:spLocks/>
            </p:cNvSpPr>
            <p:nvPr/>
          </p:nvSpPr>
          <p:spPr>
            <a:xfrm>
              <a:off x="123368" y="5147491"/>
              <a:ext cx="8864070" cy="258002"/>
            </a:xfrm>
            <a:prstGeom prst="rect">
              <a:avLst/>
            </a:prstGeom>
            <a:solidFill>
              <a:schemeClr val="accent6">
                <a:lumMod val="10000"/>
                <a:lumOff val="90000"/>
              </a:schemeClr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 vert="horz" wrap="none" lIns="180000" tIns="72000" rIns="216000" bIns="4572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3"/>
                </a:buClr>
                <a:buFont typeface="Wingdings" panose="05000000000000000000" pitchFamily="2" charset="2"/>
                <a:buNone/>
                <a:defRPr sz="1800" b="1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177800" indent="-17780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5600" indent="-17780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3400" indent="-174625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725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i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563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5600" indent="-173038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tabLst/>
                <a:defRPr sz="16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8163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16558" fontAlgn="base">
                <a:lnSpc>
                  <a:spcPts val="1411"/>
                </a:lnSpc>
                <a:spcBef>
                  <a:spcPts val="470"/>
                </a:spcBef>
                <a:spcAft>
                  <a:spcPts val="470"/>
                </a:spcAft>
                <a:buClr>
                  <a:srgbClr val="FFA100"/>
                </a:buClr>
                <a:defRPr/>
              </a:pPr>
              <a:r>
                <a:rPr lang="en-US" sz="1219">
                  <a:solidFill>
                    <a:srgbClr val="000000"/>
                  </a:solidFill>
                </a:rPr>
                <a:t>Highlights</a:t>
              </a:r>
            </a:p>
          </p:txBody>
        </p:sp>
      </p:grpSp>
      <p:graphicFrame>
        <p:nvGraphicFramePr>
          <p:cNvPr id="9" name="Table 8"/>
          <p:cNvGraphicFramePr>
            <a:graphicFrameLocks noGrp="1"/>
          </p:cNvGraphicFramePr>
          <p:nvPr userDrawn="1"/>
        </p:nvGraphicFramePr>
        <p:xfrm>
          <a:off x="503757" y="3858781"/>
          <a:ext cx="11175785" cy="219415"/>
        </p:xfrm>
        <a:graphic>
          <a:graphicData uri="http://schemas.openxmlformats.org/drawingml/2006/table">
            <a:tbl>
              <a:tblPr/>
              <a:tblGrid>
                <a:gridCol w="27939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939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753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1252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941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ey</a:t>
                      </a:r>
                    </a:p>
                  </a:txBody>
                  <a:tcPr marL="11826" marR="11826" marT="967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11826" marR="11826" marT="96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11826" marR="11826" marT="96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6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11826" marR="11826" marT="9674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0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8"/>
            <a:ext cx="11761676" cy="434891"/>
          </a:xfrm>
        </p:spPr>
        <p:txBody>
          <a:bodyPr/>
          <a:lstStyle>
            <a:lvl1pPr marL="0" indent="0">
              <a:buNone/>
              <a:defRPr sz="1219" b="1">
                <a:latin typeface="Arial" pitchFamily="34" charset="0"/>
                <a:cs typeface="Arial" pitchFamily="34" charset="0"/>
              </a:defRPr>
            </a:lvl1pPr>
            <a:lvl2pPr>
              <a:defRPr sz="1056">
                <a:latin typeface="Arial" pitchFamily="34" charset="0"/>
                <a:cs typeface="Arial" pitchFamily="34" charset="0"/>
              </a:defRPr>
            </a:lvl2pPr>
            <a:lvl3pPr marL="438649" indent="-146217">
              <a:buClr>
                <a:schemeClr val="tx2"/>
              </a:buClr>
              <a:buFont typeface="Wingdings" pitchFamily="2" charset="2"/>
              <a:buChar char="§"/>
              <a:defRPr sz="89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806741106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Pentagon 4"/>
          <p:cNvSpPr/>
          <p:nvPr userDrawn="1"/>
        </p:nvSpPr>
        <p:spPr bwMode="auto">
          <a:xfrm>
            <a:off x="6012260" y="1599272"/>
            <a:ext cx="5913697" cy="4966170"/>
          </a:xfrm>
          <a:prstGeom prst="homePlate">
            <a:avLst>
              <a:gd name="adj" fmla="val 507"/>
            </a:avLst>
          </a:prstGeom>
          <a:solidFill>
            <a:schemeClr val="bg1"/>
          </a:solidFill>
          <a:ln w="3810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5116" tIns="135116" rIns="135116" bIns="135116" numCol="1" rtlCol="0" anchor="t" anchorCtr="0" compatLnSpc="1">
            <a:prstTxWarp prst="textNoShape">
              <a:avLst/>
            </a:prstTxWarp>
          </a:bodyPr>
          <a:lstStyle/>
          <a:p>
            <a:pPr defTabSz="686358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  <a:endParaRPr lang="en-IN" sz="1381" b="1">
              <a:solidFill>
                <a:srgbClr val="000000"/>
              </a:solidFill>
            </a:endParaRPr>
          </a:p>
          <a:p>
            <a:pPr marL="341987" indent="-214488" defTabSz="68635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1219">
                <a:solidFill>
                  <a:srgbClr val="000000"/>
                </a:solidFill>
              </a:rPr>
              <a:t>Text</a:t>
            </a:r>
          </a:p>
          <a:p>
            <a:pPr marL="341987" indent="-214488" defTabSz="68635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1219">
                <a:solidFill>
                  <a:srgbClr val="000000"/>
                </a:solidFill>
              </a:rPr>
              <a:t>Text</a:t>
            </a:r>
            <a:endParaRPr lang="en-IN" sz="1219" b="1">
              <a:solidFill>
                <a:srgbClr val="000000"/>
              </a:solidFill>
            </a:endParaRPr>
          </a:p>
        </p:txBody>
      </p:sp>
      <p:sp>
        <p:nvSpPr>
          <p:cNvPr id="6" name="Pentagon 5"/>
          <p:cNvSpPr/>
          <p:nvPr userDrawn="1"/>
        </p:nvSpPr>
        <p:spPr bwMode="auto">
          <a:xfrm>
            <a:off x="312107" y="1599272"/>
            <a:ext cx="5946545" cy="4966170"/>
          </a:xfrm>
          <a:prstGeom prst="homePlate">
            <a:avLst>
              <a:gd name="adj" fmla="val 8913"/>
            </a:avLst>
          </a:prstGeom>
          <a:solidFill>
            <a:schemeClr val="tx2">
              <a:lumMod val="20000"/>
              <a:lumOff val="80000"/>
            </a:schemeClr>
          </a:solidFill>
          <a:ln w="2857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5116" tIns="135116" rIns="135116" bIns="135116" numCol="1" rtlCol="0" anchor="t" anchorCtr="0" compatLnSpc="1">
            <a:prstTxWarp prst="textNoShape">
              <a:avLst/>
            </a:prstTxWarp>
          </a:bodyPr>
          <a:lstStyle/>
          <a:p>
            <a:pPr defTabSz="686358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  <a:endParaRPr lang="en-IN" sz="1381" b="1">
              <a:solidFill>
                <a:srgbClr val="000000"/>
              </a:solidFill>
            </a:endParaRPr>
          </a:p>
          <a:p>
            <a:pPr marL="341987" indent="-214488" defTabSz="68635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1219">
                <a:solidFill>
                  <a:srgbClr val="000000"/>
                </a:solidFill>
              </a:rPr>
              <a:t>Text</a:t>
            </a:r>
          </a:p>
          <a:p>
            <a:pPr marL="341987" indent="-214488" defTabSz="68635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1219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91236" y="1106967"/>
            <a:ext cx="11634721" cy="369887"/>
          </a:xfrm>
        </p:spPr>
        <p:txBody>
          <a:bodyPr/>
          <a:lstStyle>
            <a:lvl1pPr>
              <a:buNone/>
              <a:defRPr sz="1219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9580592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aphicFrame>
        <p:nvGraphicFramePr>
          <p:cNvPr id="5" name="Diagram 4"/>
          <p:cNvGraphicFramePr/>
          <p:nvPr userDrawn="1"/>
        </p:nvGraphicFramePr>
        <p:xfrm>
          <a:off x="537156" y="1585251"/>
          <a:ext cx="6444292" cy="46715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6981452" y="3194480"/>
            <a:ext cx="4714527" cy="835759"/>
          </a:xfrm>
          <a:prstGeom prst="rect">
            <a:avLst/>
          </a:prstGeom>
          <a:noFill/>
          <a:ln>
            <a:noFill/>
          </a:ln>
        </p:spPr>
        <p:txBody>
          <a:bodyPr wrap="square" lIns="68631" tIns="34317" rIns="68631" bIns="34317" rtlCol="0">
            <a:spAutoFit/>
          </a:bodyPr>
          <a:lstStyle/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TEXT</a:t>
            </a:r>
          </a:p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 </a:t>
            </a:r>
          </a:p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 </a:t>
            </a:r>
          </a:p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6981452" y="1567146"/>
            <a:ext cx="4714527" cy="835759"/>
          </a:xfrm>
          <a:prstGeom prst="rect">
            <a:avLst/>
          </a:prstGeom>
          <a:noFill/>
          <a:ln>
            <a:noFill/>
          </a:ln>
        </p:spPr>
        <p:txBody>
          <a:bodyPr wrap="square" lIns="68631" tIns="34317" rIns="68631" bIns="34317" rtlCol="0">
            <a:spAutoFit/>
          </a:bodyPr>
          <a:lstStyle/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TEXT</a:t>
            </a:r>
          </a:p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 </a:t>
            </a:r>
          </a:p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 </a:t>
            </a:r>
          </a:p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6981452" y="4821814"/>
            <a:ext cx="4714527" cy="835759"/>
          </a:xfrm>
          <a:prstGeom prst="rect">
            <a:avLst/>
          </a:prstGeom>
          <a:noFill/>
          <a:ln>
            <a:noFill/>
          </a:ln>
        </p:spPr>
        <p:txBody>
          <a:bodyPr wrap="square" lIns="68631" tIns="34317" rIns="68631" bIns="34317" rtlCol="0">
            <a:spAutoFit/>
          </a:bodyPr>
          <a:lstStyle/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TEXT</a:t>
            </a:r>
          </a:p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 </a:t>
            </a:r>
          </a:p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 </a:t>
            </a:r>
          </a:p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8"/>
            <a:ext cx="11761676" cy="434891"/>
          </a:xfrm>
        </p:spPr>
        <p:txBody>
          <a:bodyPr/>
          <a:lstStyle>
            <a:lvl1pPr marL="0" indent="0">
              <a:buNone/>
              <a:defRPr sz="1219" b="1">
                <a:latin typeface="Arial" pitchFamily="34" charset="0"/>
                <a:cs typeface="Arial" pitchFamily="34" charset="0"/>
              </a:defRPr>
            </a:lvl1pPr>
            <a:lvl2pPr>
              <a:defRPr sz="1056">
                <a:latin typeface="Arial" pitchFamily="34" charset="0"/>
                <a:cs typeface="Arial" pitchFamily="34" charset="0"/>
              </a:defRPr>
            </a:lvl2pPr>
            <a:lvl3pPr marL="438649" indent="-146217">
              <a:buClr>
                <a:schemeClr val="tx2"/>
              </a:buClr>
              <a:buFont typeface="Wingdings" pitchFamily="2" charset="2"/>
              <a:buChar char="§"/>
              <a:defRPr sz="89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104903414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50591" y="1494338"/>
            <a:ext cx="2942619" cy="2513019"/>
          </a:xfrm>
          <a:prstGeom prst="rect">
            <a:avLst/>
          </a:prstGeom>
          <a:solidFill>
            <a:srgbClr val="E2FFC5"/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79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632793" y="1503199"/>
            <a:ext cx="2942619" cy="2513019"/>
          </a:xfrm>
          <a:prstGeom prst="rect">
            <a:avLst/>
          </a:prstGeom>
          <a:solidFill>
            <a:srgbClr val="E2FFC5"/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79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550591" y="4119600"/>
            <a:ext cx="2942619" cy="2513019"/>
          </a:xfrm>
          <a:prstGeom prst="rect">
            <a:avLst/>
          </a:prstGeom>
          <a:solidFill>
            <a:srgbClr val="E2FFC5"/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79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" name="Rectangle 7"/>
          <p:cNvSpPr/>
          <p:nvPr userDrawn="1"/>
        </p:nvSpPr>
        <p:spPr>
          <a:xfrm rot="425343">
            <a:off x="3775783" y="4199616"/>
            <a:ext cx="2858543" cy="244121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68639" tIns="34319" rIns="68639" bIns="34319" anchor="ctr" anchorCtr="0">
            <a:normAutofit/>
          </a:bodyPr>
          <a:lstStyle/>
          <a:p>
            <a:pPr marL="201379" algn="just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219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6981452" y="1482971"/>
            <a:ext cx="4714527" cy="835759"/>
          </a:xfrm>
          <a:prstGeom prst="rect">
            <a:avLst/>
          </a:prstGeom>
          <a:noFill/>
          <a:ln>
            <a:noFill/>
          </a:ln>
        </p:spPr>
        <p:txBody>
          <a:bodyPr wrap="square" lIns="68631" tIns="34317" rIns="68631" bIns="34317" rtlCol="0">
            <a:spAutoFit/>
          </a:bodyPr>
          <a:lstStyle/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TEXT</a:t>
            </a:r>
          </a:p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 </a:t>
            </a:r>
          </a:p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 </a:t>
            </a:r>
          </a:p>
          <a:p>
            <a:pPr marL="214463" indent="-214463" defTabSz="686285">
              <a:buFont typeface="Wingdings" pitchFamily="2" charset="2"/>
              <a:buChar char="§"/>
            </a:pPr>
            <a:r>
              <a:rPr lang="en-US" sz="1219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10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8"/>
            <a:ext cx="11761676" cy="434891"/>
          </a:xfrm>
        </p:spPr>
        <p:txBody>
          <a:bodyPr/>
          <a:lstStyle>
            <a:lvl1pPr marL="0" indent="0">
              <a:buNone/>
              <a:defRPr sz="1219" b="1">
                <a:latin typeface="Arial" pitchFamily="34" charset="0"/>
                <a:cs typeface="Arial" pitchFamily="34" charset="0"/>
              </a:defRPr>
            </a:lvl1pPr>
            <a:lvl2pPr>
              <a:defRPr sz="1056">
                <a:latin typeface="Arial" pitchFamily="34" charset="0"/>
                <a:cs typeface="Arial" pitchFamily="34" charset="0"/>
              </a:defRPr>
            </a:lvl2pPr>
            <a:lvl3pPr marL="438649" indent="-146217">
              <a:buClr>
                <a:schemeClr val="tx2"/>
              </a:buClr>
              <a:buFont typeface="Wingdings" pitchFamily="2" charset="2"/>
              <a:buChar char="§"/>
              <a:defRPr sz="89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50556134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80695" y="1646882"/>
            <a:ext cx="3789566" cy="3590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658" tIns="35830" rIns="71658" bIns="35830" rtlCol="0" anchor="ctr"/>
          <a:lstStyle/>
          <a:p>
            <a:pPr algn="ctr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Description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017940" y="1632855"/>
            <a:ext cx="0" cy="5026039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8080331" y="1646886"/>
            <a:ext cx="0" cy="5026039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152451" y="3886919"/>
            <a:ext cx="3789562" cy="69460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1658" tIns="35830" rIns="71658" bIns="35830">
            <a:spAutoFit/>
          </a:bodyPr>
          <a:lstStyle/>
          <a:p>
            <a:pPr marL="74641" indent="-74641" defTabSz="742812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894">
                <a:solidFill>
                  <a:srgbClr val="000000"/>
                </a:solidFill>
              </a:rPr>
              <a:t>Text</a:t>
            </a:r>
          </a:p>
          <a:p>
            <a:pPr marL="74641" indent="-74641" defTabSz="742812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  <a:p>
            <a:pPr marL="74641" indent="-74641" defTabSz="742812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  <a:p>
            <a:pPr marL="74641" indent="-74641" defTabSz="742812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80697" y="3385237"/>
            <a:ext cx="11764448" cy="3590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658" tIns="35830" rIns="71658" bIns="35830" rtlCol="0" anchor="ctr"/>
          <a:lstStyle/>
          <a:p>
            <a:pPr algn="ctr" defTabSz="742812" fontAlgn="base">
              <a:spcBef>
                <a:spcPct val="0"/>
              </a:spcBef>
              <a:spcAft>
                <a:spcPct val="0"/>
              </a:spcAft>
              <a:buClr>
                <a:srgbClr val="3D7EDB"/>
              </a:buClr>
            </a:pPr>
            <a:r>
              <a:rPr lang="en-GB" sz="1219" b="1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164276" y="2073270"/>
            <a:ext cx="3789562" cy="69460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1658" tIns="35830" rIns="71658" bIns="35830">
            <a:spAutoFit/>
          </a:bodyPr>
          <a:lstStyle/>
          <a:p>
            <a:pPr marL="74641" indent="-74641" defTabSz="742812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894">
                <a:solidFill>
                  <a:srgbClr val="000000"/>
                </a:solidFill>
              </a:rPr>
              <a:t>Text</a:t>
            </a:r>
          </a:p>
          <a:p>
            <a:pPr marL="74641" indent="-74641" defTabSz="742812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  <a:p>
            <a:pPr marL="74641" indent="-74641" defTabSz="742812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  <a:p>
            <a:pPr marL="74641" indent="-74641" defTabSz="742812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4100077" y="1646882"/>
            <a:ext cx="3938430" cy="3590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658" tIns="35830" rIns="71658" bIns="35830" rtlCol="0" anchor="ctr"/>
          <a:lstStyle/>
          <a:p>
            <a:pPr algn="ctr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4071831" y="3886919"/>
            <a:ext cx="3938427" cy="69460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1658" tIns="35830" rIns="71658" bIns="35830">
            <a:spAutoFit/>
          </a:bodyPr>
          <a:lstStyle/>
          <a:p>
            <a:pPr marL="74641" indent="-74641" defTabSz="742812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894">
                <a:solidFill>
                  <a:srgbClr val="000000"/>
                </a:solidFill>
              </a:rPr>
              <a:t>Text</a:t>
            </a:r>
          </a:p>
          <a:p>
            <a:pPr marL="74641" indent="-74641" defTabSz="742812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  <a:p>
            <a:pPr marL="74641" indent="-74641" defTabSz="742812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  <a:p>
            <a:pPr marL="74641" indent="-74641" defTabSz="742812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4083657" y="2073270"/>
            <a:ext cx="3938427" cy="69460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1658" tIns="35830" rIns="71658" bIns="35830">
            <a:spAutoFit/>
          </a:bodyPr>
          <a:lstStyle/>
          <a:p>
            <a:pPr marL="74641" indent="-74641" defTabSz="742812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894">
                <a:solidFill>
                  <a:srgbClr val="000000"/>
                </a:solidFill>
              </a:rPr>
              <a:t>Text</a:t>
            </a:r>
          </a:p>
          <a:p>
            <a:pPr marL="74641" indent="-74641" defTabSz="742812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  <a:p>
            <a:pPr marL="74641" indent="-74641" defTabSz="742812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  <a:p>
            <a:pPr marL="74641" indent="-74641" defTabSz="742812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8183834" y="1646882"/>
            <a:ext cx="3789566" cy="3590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658" tIns="35830" rIns="71658" bIns="35830" rtlCol="0" anchor="ctr"/>
          <a:lstStyle/>
          <a:p>
            <a:pPr algn="ctr" defTabSz="742812" fontAlgn="base">
              <a:spcBef>
                <a:spcPct val="0"/>
              </a:spcBef>
              <a:spcAft>
                <a:spcPct val="0"/>
              </a:spcAft>
            </a:pPr>
            <a:r>
              <a:rPr lang="en-IN" sz="1056" b="1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8155592" y="3886919"/>
            <a:ext cx="3789562" cy="69460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1658" tIns="35830" rIns="71658" bIns="35830">
            <a:spAutoFit/>
          </a:bodyPr>
          <a:lstStyle/>
          <a:p>
            <a:pPr marL="74641" indent="-74641" defTabSz="742812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894">
                <a:solidFill>
                  <a:srgbClr val="000000"/>
                </a:solidFill>
              </a:rPr>
              <a:t>Text</a:t>
            </a:r>
          </a:p>
          <a:p>
            <a:pPr marL="74641" indent="-74641" defTabSz="742812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  <a:p>
            <a:pPr marL="74641" indent="-74641" defTabSz="742812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  <a:p>
            <a:pPr marL="74641" indent="-74641" defTabSz="742812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8167407" y="2073270"/>
            <a:ext cx="3789562" cy="69460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1658" tIns="35830" rIns="71658" bIns="35830">
            <a:spAutoFit/>
          </a:bodyPr>
          <a:lstStyle/>
          <a:p>
            <a:pPr marL="74641" indent="-74641" defTabSz="742812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894">
                <a:solidFill>
                  <a:srgbClr val="000000"/>
                </a:solidFill>
              </a:rPr>
              <a:t>Text</a:t>
            </a:r>
          </a:p>
          <a:p>
            <a:pPr marL="74641" indent="-74641" defTabSz="742812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  <a:p>
            <a:pPr marL="74641" indent="-74641" defTabSz="742812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  <a:p>
            <a:pPr marL="74641" indent="-74641" defTabSz="742812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894">
              <a:solidFill>
                <a:srgbClr val="000000"/>
              </a:solidFill>
            </a:endParaRPr>
          </a:p>
        </p:txBody>
      </p:sp>
      <p:sp>
        <p:nvSpPr>
          <p:cNvPr id="24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8"/>
            <a:ext cx="11761676" cy="434891"/>
          </a:xfrm>
        </p:spPr>
        <p:txBody>
          <a:bodyPr/>
          <a:lstStyle>
            <a:lvl1pPr marL="0" indent="0">
              <a:buNone/>
              <a:defRPr sz="1219" b="1">
                <a:latin typeface="Arial" pitchFamily="34" charset="0"/>
                <a:cs typeface="Arial" pitchFamily="34" charset="0"/>
              </a:defRPr>
            </a:lvl1pPr>
            <a:lvl2pPr>
              <a:defRPr sz="1056">
                <a:latin typeface="Arial" pitchFamily="34" charset="0"/>
                <a:cs typeface="Arial" pitchFamily="34" charset="0"/>
              </a:defRPr>
            </a:lvl2pPr>
            <a:lvl3pPr marL="438649" indent="-146217">
              <a:buClr>
                <a:schemeClr val="tx2"/>
              </a:buClr>
              <a:buFont typeface="Wingdings" pitchFamily="2" charset="2"/>
              <a:buChar char="§"/>
              <a:defRPr sz="89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125550608"/>
      </p:ext>
    </p:extLst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gray">
          <a:xfrm>
            <a:off x="393916" y="1285708"/>
            <a:ext cx="11334393" cy="4667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947" tIns="54555" rIns="54555" bIns="54555" anchor="ctr"/>
          <a:lstStyle/>
          <a:p>
            <a:pPr marL="257384" indent="-257384" defTabSz="742812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en-US" sz="1219">
                <a:solidFill>
                  <a:srgbClr val="000000"/>
                </a:solidFill>
              </a:rPr>
              <a:t>Text</a:t>
            </a:r>
            <a:endParaRPr lang="en-IN" sz="1219" noProof="1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gray">
          <a:xfrm>
            <a:off x="393916" y="1921838"/>
            <a:ext cx="11334393" cy="46670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947" tIns="54555" rIns="54555" bIns="54555" anchor="ctr"/>
          <a:lstStyle/>
          <a:p>
            <a:pPr defTabSz="742812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219">
              <a:solidFill>
                <a:srgbClr val="000000"/>
              </a:solidFill>
            </a:endParaRPr>
          </a:p>
          <a:p>
            <a:pPr marL="257384" indent="-257384" defTabSz="742812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2"/>
              <a:defRPr/>
            </a:pPr>
            <a:r>
              <a:rPr lang="en-US" sz="1219">
                <a:solidFill>
                  <a:srgbClr val="000000"/>
                </a:solidFill>
              </a:rPr>
              <a:t>Text</a:t>
            </a:r>
          </a:p>
          <a:p>
            <a:pPr defTabSz="742812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219" noProof="1">
              <a:solidFill>
                <a:srgbClr val="000000"/>
              </a:solidFill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gray">
          <a:xfrm>
            <a:off x="393916" y="2557967"/>
            <a:ext cx="11334393" cy="4667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947" tIns="54555" rIns="54555" bIns="54555" anchor="ctr"/>
          <a:lstStyle/>
          <a:p>
            <a:pPr defTabSz="742812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219">
              <a:solidFill>
                <a:srgbClr val="000000"/>
              </a:solidFill>
            </a:endParaRPr>
          </a:p>
          <a:p>
            <a:pPr marL="257384" indent="-257384" defTabSz="742812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3"/>
              <a:defRPr/>
            </a:pPr>
            <a:r>
              <a:rPr lang="en-US" sz="1219">
                <a:solidFill>
                  <a:srgbClr val="000000"/>
                </a:solidFill>
              </a:rPr>
              <a:t>Text</a:t>
            </a:r>
          </a:p>
          <a:p>
            <a:pPr defTabSz="742812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219" noProof="1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gray">
          <a:xfrm>
            <a:off x="393916" y="3830224"/>
            <a:ext cx="11334393" cy="4667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947" tIns="54555" rIns="54555" bIns="54555" anchor="ctr"/>
          <a:lstStyle/>
          <a:p>
            <a:pPr defTabSz="742812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219">
              <a:solidFill>
                <a:srgbClr val="000000"/>
              </a:solidFill>
            </a:endParaRPr>
          </a:p>
          <a:p>
            <a:pPr marL="257384" indent="-257384" defTabSz="742812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5"/>
              <a:defRPr/>
            </a:pPr>
            <a:r>
              <a:rPr lang="en-US" sz="1219">
                <a:solidFill>
                  <a:srgbClr val="000000"/>
                </a:solidFill>
              </a:rPr>
              <a:t>Text</a:t>
            </a:r>
          </a:p>
          <a:p>
            <a:pPr defTabSz="742812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219" noProof="1">
              <a:solidFill>
                <a:srgbClr val="000000"/>
              </a:solidFill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gray">
          <a:xfrm>
            <a:off x="393916" y="3194095"/>
            <a:ext cx="11334393" cy="46670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947" tIns="54555" rIns="54555" bIns="54555" anchor="ctr"/>
          <a:lstStyle/>
          <a:p>
            <a:pPr marL="257384" indent="-257384" defTabSz="742812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4"/>
              <a:defRPr/>
            </a:pPr>
            <a:r>
              <a:rPr lang="en-US" sz="1219">
                <a:solidFill>
                  <a:srgbClr val="000000"/>
                </a:solidFill>
              </a:rPr>
              <a:t>Text</a:t>
            </a:r>
            <a:endParaRPr lang="en-US" sz="1219" noProof="1">
              <a:solidFill>
                <a:srgbClr val="000000"/>
              </a:solidFill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gray">
          <a:xfrm>
            <a:off x="393916" y="4466354"/>
            <a:ext cx="11334393" cy="46670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947" tIns="54555" rIns="54555" bIns="54555" anchor="ctr"/>
          <a:lstStyle/>
          <a:p>
            <a:pPr marL="257384" indent="-257384" defTabSz="742812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6"/>
              <a:defRPr/>
            </a:pPr>
            <a:r>
              <a:rPr lang="en-US" sz="1219">
                <a:solidFill>
                  <a:srgbClr val="000000"/>
                </a:solidFill>
              </a:rPr>
              <a:t>Text</a:t>
            </a:r>
            <a:endParaRPr lang="en-US" sz="1219" noProof="1">
              <a:solidFill>
                <a:srgbClr val="000000"/>
              </a:solidFill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gray">
          <a:xfrm>
            <a:off x="393916" y="5102480"/>
            <a:ext cx="11334393" cy="4667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90947" tIns="54555" rIns="54555" bIns="54555" anchor="ctr"/>
          <a:lstStyle/>
          <a:p>
            <a:pPr defTabSz="742812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219">
              <a:solidFill>
                <a:srgbClr val="000000"/>
              </a:solidFill>
            </a:endParaRPr>
          </a:p>
          <a:p>
            <a:pPr marL="257384" indent="-257384" defTabSz="742812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7"/>
              <a:defRPr/>
            </a:pPr>
            <a:r>
              <a:rPr lang="en-US" sz="1219">
                <a:solidFill>
                  <a:srgbClr val="000000"/>
                </a:solidFill>
              </a:rPr>
              <a:t>Text</a:t>
            </a:r>
          </a:p>
          <a:p>
            <a:pPr defTabSz="742812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219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272514"/>
      </p:ext>
    </p:extLst>
  </p:cSld>
  <p:clrMapOvr>
    <a:masterClrMapping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12" name="Content Placeholder 22"/>
          <p:cNvSpPr>
            <a:spLocks noGrp="1"/>
          </p:cNvSpPr>
          <p:nvPr userDrawn="1"/>
        </p:nvSpPr>
        <p:spPr bwMode="auto">
          <a:xfrm>
            <a:off x="1911838" y="1434892"/>
            <a:ext cx="9644294" cy="1003266"/>
          </a:xfrm>
          <a:prstGeom prst="rect">
            <a:avLst/>
          </a:prstGeom>
          <a:solidFill>
            <a:srgbClr val="00B0F0">
              <a:lumMod val="20000"/>
              <a:lumOff val="80000"/>
            </a:srgbClr>
          </a:solidFill>
          <a:ln w="12700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274555" tIns="34319" rIns="34319" bIns="34319" numCol="1" anchor="ctr" anchorCtr="0" compatLnSpc="1">
            <a:prstTxWarp prst="textNoShape">
              <a:avLst/>
            </a:prstTxWarp>
          </a:bodyPr>
          <a:lstStyle>
            <a:lvl1pPr marL="228600" indent="-228600" algn="l" defTabSz="1019175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4080"/>
              </a:buClr>
              <a:buSzPct val="90000"/>
              <a:buFont typeface="Wingdings" pitchFamily="2" charset="2"/>
              <a:buChar char="n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90525" indent="-142875" algn="l" defTabSz="1019175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Arial" pitchFamily="34" charset="0"/>
              <a:buChar char="–"/>
              <a:defRPr sz="1100">
                <a:solidFill>
                  <a:srgbClr val="000000"/>
                </a:solidFill>
                <a:latin typeface="+mn-lt"/>
              </a:defRPr>
            </a:lvl2pPr>
            <a:lvl3pPr marL="504825" indent="-104775" algn="l" defTabSz="1019175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3pPr>
            <a:lvl4pPr marL="904875" indent="-212725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4pPr>
            <a:lvl5pPr marL="11477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5pPr>
            <a:lvl6pPr marL="16049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6pPr>
            <a:lvl7pPr marL="20621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7pPr>
            <a:lvl8pPr marL="25193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8pPr>
            <a:lvl9pPr marL="29765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171589" indent="-171589" defTabSz="765003">
              <a:spcBef>
                <a:spcPts val="450"/>
              </a:spcBef>
              <a:defRPr/>
            </a:pPr>
            <a:r>
              <a:rPr lang="en-US" sz="1056" kern="0"/>
              <a:t>Sample 1</a:t>
            </a:r>
          </a:p>
          <a:p>
            <a:pPr marL="293132" lvl="1" indent="-107244" defTabSz="765003">
              <a:spcBef>
                <a:spcPts val="301"/>
              </a:spcBef>
              <a:defRPr/>
            </a:pPr>
            <a:r>
              <a:rPr lang="en-US" sz="1056" kern="0"/>
              <a:t>Sample 2</a:t>
            </a:r>
          </a:p>
          <a:p>
            <a:pPr marL="378926" lvl="2" indent="-78644" defTabSz="765003">
              <a:spcBef>
                <a:spcPts val="150"/>
              </a:spcBef>
              <a:defRPr/>
            </a:pPr>
            <a:r>
              <a:rPr lang="en-US" sz="1056" kern="0"/>
              <a:t>Sample 3</a:t>
            </a:r>
          </a:p>
        </p:txBody>
      </p:sp>
      <p:sp>
        <p:nvSpPr>
          <p:cNvPr id="14" name="Oval 13"/>
          <p:cNvSpPr/>
          <p:nvPr userDrawn="1"/>
        </p:nvSpPr>
        <p:spPr>
          <a:xfrm>
            <a:off x="949114" y="1372659"/>
            <a:ext cx="1326457" cy="1135163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68639" tIns="34319" rIns="68639" bIns="34319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6358">
              <a:defRPr/>
            </a:pPr>
            <a:r>
              <a:rPr lang="en-US" sz="1056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7" name="Content Placeholder 22"/>
          <p:cNvSpPr>
            <a:spLocks noGrp="1"/>
          </p:cNvSpPr>
          <p:nvPr userDrawn="1"/>
        </p:nvSpPr>
        <p:spPr bwMode="auto">
          <a:xfrm>
            <a:off x="2419639" y="2918487"/>
            <a:ext cx="9085653" cy="1003266"/>
          </a:xfrm>
          <a:prstGeom prst="rect">
            <a:avLst/>
          </a:prstGeom>
          <a:solidFill>
            <a:srgbClr val="00B0F0">
              <a:lumMod val="20000"/>
              <a:lumOff val="80000"/>
            </a:srgbClr>
          </a:solidFill>
          <a:ln w="12700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274555" tIns="34319" rIns="34319" bIns="34319" numCol="1" anchor="ctr" anchorCtr="0" compatLnSpc="1">
            <a:prstTxWarp prst="textNoShape">
              <a:avLst/>
            </a:prstTxWarp>
          </a:bodyPr>
          <a:lstStyle>
            <a:lvl1pPr marL="228600" indent="-228600" algn="l" defTabSz="1019175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4080"/>
              </a:buClr>
              <a:buSzPct val="90000"/>
              <a:buFont typeface="Wingdings" pitchFamily="2" charset="2"/>
              <a:buChar char="n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90525" indent="-142875" algn="l" defTabSz="1019175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Arial" pitchFamily="34" charset="0"/>
              <a:buChar char="–"/>
              <a:defRPr sz="1100">
                <a:solidFill>
                  <a:srgbClr val="000000"/>
                </a:solidFill>
                <a:latin typeface="+mn-lt"/>
              </a:defRPr>
            </a:lvl2pPr>
            <a:lvl3pPr marL="504825" indent="-104775" algn="l" defTabSz="1019175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3pPr>
            <a:lvl4pPr marL="904875" indent="-212725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4pPr>
            <a:lvl5pPr marL="11477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5pPr>
            <a:lvl6pPr marL="16049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6pPr>
            <a:lvl7pPr marL="20621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7pPr>
            <a:lvl8pPr marL="25193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8pPr>
            <a:lvl9pPr marL="29765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171589" indent="-171589" defTabSz="765003">
              <a:spcBef>
                <a:spcPts val="450"/>
              </a:spcBef>
              <a:defRPr/>
            </a:pPr>
            <a:r>
              <a:rPr lang="en-US" sz="1056" kern="0"/>
              <a:t>Sample 1</a:t>
            </a:r>
          </a:p>
          <a:p>
            <a:pPr marL="293132" lvl="1" indent="-107244" defTabSz="765003">
              <a:spcBef>
                <a:spcPts val="301"/>
              </a:spcBef>
              <a:defRPr/>
            </a:pPr>
            <a:r>
              <a:rPr lang="en-US" sz="1056" kern="0"/>
              <a:t>Sample 2</a:t>
            </a:r>
          </a:p>
          <a:p>
            <a:pPr marL="378926" lvl="2" indent="-78644" defTabSz="765003">
              <a:spcBef>
                <a:spcPts val="150"/>
              </a:spcBef>
              <a:defRPr/>
            </a:pPr>
            <a:r>
              <a:rPr lang="en-US" sz="1056" kern="0"/>
              <a:t>Sample 3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1456914" y="2856257"/>
            <a:ext cx="1326457" cy="1135163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68639" tIns="34319" rIns="68639" bIns="34319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6358">
              <a:defRPr/>
            </a:pPr>
            <a:r>
              <a:rPr lang="en-US" sz="1056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9" name="Content Placeholder 22"/>
          <p:cNvSpPr>
            <a:spLocks noGrp="1"/>
          </p:cNvSpPr>
          <p:nvPr userDrawn="1"/>
        </p:nvSpPr>
        <p:spPr bwMode="auto">
          <a:xfrm>
            <a:off x="2004396" y="4474454"/>
            <a:ext cx="9517841" cy="1003266"/>
          </a:xfrm>
          <a:prstGeom prst="rect">
            <a:avLst/>
          </a:prstGeom>
          <a:solidFill>
            <a:srgbClr val="00B0F0">
              <a:lumMod val="20000"/>
              <a:lumOff val="80000"/>
            </a:srgbClr>
          </a:solidFill>
          <a:ln w="12700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274555" tIns="34319" rIns="34319" bIns="34319" numCol="1" anchor="ctr" anchorCtr="0" compatLnSpc="1">
            <a:prstTxWarp prst="textNoShape">
              <a:avLst/>
            </a:prstTxWarp>
          </a:bodyPr>
          <a:lstStyle>
            <a:lvl1pPr marL="228600" indent="-228600" algn="l" defTabSz="1019175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4080"/>
              </a:buClr>
              <a:buSzPct val="90000"/>
              <a:buFont typeface="Wingdings" pitchFamily="2" charset="2"/>
              <a:buChar char="n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90525" indent="-142875" algn="l" defTabSz="1019175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Arial" pitchFamily="34" charset="0"/>
              <a:buChar char="–"/>
              <a:defRPr sz="1100">
                <a:solidFill>
                  <a:srgbClr val="000000"/>
                </a:solidFill>
                <a:latin typeface="+mn-lt"/>
              </a:defRPr>
            </a:lvl2pPr>
            <a:lvl3pPr marL="504825" indent="-104775" algn="l" defTabSz="1019175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3pPr>
            <a:lvl4pPr marL="904875" indent="-212725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4pPr>
            <a:lvl5pPr marL="11477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5pPr>
            <a:lvl6pPr marL="16049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6pPr>
            <a:lvl7pPr marL="20621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7pPr>
            <a:lvl8pPr marL="25193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8pPr>
            <a:lvl9pPr marL="29765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171589" indent="-171589" defTabSz="765003">
              <a:spcBef>
                <a:spcPts val="450"/>
              </a:spcBef>
              <a:defRPr/>
            </a:pPr>
            <a:r>
              <a:rPr lang="en-US" sz="1056" kern="0"/>
              <a:t>Sample 1</a:t>
            </a:r>
          </a:p>
          <a:p>
            <a:pPr marL="293132" lvl="1" indent="-107244" defTabSz="765003">
              <a:spcBef>
                <a:spcPts val="301"/>
              </a:spcBef>
              <a:defRPr/>
            </a:pPr>
            <a:r>
              <a:rPr lang="en-US" sz="1056" kern="0"/>
              <a:t>Sample 2</a:t>
            </a:r>
          </a:p>
          <a:p>
            <a:pPr marL="378926" lvl="2" indent="-78644" defTabSz="765003">
              <a:spcBef>
                <a:spcPts val="150"/>
              </a:spcBef>
              <a:defRPr/>
            </a:pPr>
            <a:r>
              <a:rPr lang="en-US" sz="1056" kern="0"/>
              <a:t>Sample 3</a:t>
            </a:r>
          </a:p>
        </p:txBody>
      </p:sp>
      <p:sp>
        <p:nvSpPr>
          <p:cNvPr id="20" name="Oval 19"/>
          <p:cNvSpPr/>
          <p:nvPr userDrawn="1"/>
        </p:nvSpPr>
        <p:spPr>
          <a:xfrm>
            <a:off x="1041676" y="4412224"/>
            <a:ext cx="1326457" cy="1135163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68639" tIns="34319" rIns="68639" bIns="34319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6358">
              <a:defRPr/>
            </a:pPr>
            <a:r>
              <a:rPr lang="en-US" sz="1056" b="1">
                <a:solidFill>
                  <a:srgbClr val="FFFFFF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980102827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91024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8" y="167389"/>
            <a:ext cx="670982" cy="215900"/>
          </a:xfrm>
          <a:prstGeom prst="rect">
            <a:avLst/>
          </a:prstGeom>
        </p:spPr>
        <p:txBody>
          <a:bodyPr lIns="91436" tIns="45718" rIns="91436" bIns="45718"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6197" y="1140025"/>
            <a:ext cx="11332606" cy="5121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247851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6" name="Oval 25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237297" y="1155192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5" tIns="42238" rIns="84475" bIns="42238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626197" y="2005566"/>
            <a:ext cx="11332606" cy="5555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247851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" name="Oval 26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238513" y="207043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5" tIns="42238" rIns="84475" bIns="42238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26197" y="2914522"/>
            <a:ext cx="11332606" cy="5710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247851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0" name="Oval 26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229073" y="2970600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5" tIns="42238" rIns="84475" bIns="42238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626197" y="3838963"/>
            <a:ext cx="11332606" cy="5439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247851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2" name="Oval 26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247009" y="387466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5" tIns="42238" rIns="84475" bIns="42238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626197" y="4736288"/>
            <a:ext cx="11332606" cy="4936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159857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4" name="Oval 263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258279" y="476599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5" tIns="42238" rIns="84475" bIns="42238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626197" y="5521901"/>
            <a:ext cx="11332606" cy="4936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159857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6" name="Oval 263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258279" y="555160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5" tIns="42238" rIns="84475" bIns="42238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820825004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F1BAEBD-2FBE-4079-8B8E-E051F3F22B12}"/>
              </a:ext>
            </a:extLst>
          </p:cNvPr>
          <p:cNvSpPr/>
          <p:nvPr userDrawn="1"/>
        </p:nvSpPr>
        <p:spPr>
          <a:xfrm>
            <a:off x="-1636710" y="1317626"/>
            <a:ext cx="1103313" cy="457200"/>
          </a:xfrm>
          <a:prstGeom prst="rect">
            <a:avLst/>
          </a:prstGeom>
          <a:solidFill>
            <a:srgbClr val="3D7E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61 126 219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D34E4D4-86B2-4250-8A8F-D8DF569D2E53}"/>
              </a:ext>
            </a:extLst>
          </p:cNvPr>
          <p:cNvSpPr/>
          <p:nvPr userDrawn="1"/>
        </p:nvSpPr>
        <p:spPr>
          <a:xfrm>
            <a:off x="-1636710" y="1860551"/>
            <a:ext cx="1103313" cy="457200"/>
          </a:xfrm>
          <a:prstGeom prst="rect">
            <a:avLst/>
          </a:prstGeom>
          <a:solidFill>
            <a:srgbClr val="0083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0 131 169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2458DDA-AB1F-44CE-AA1E-1A3FEEC2C017}"/>
              </a:ext>
            </a:extLst>
          </p:cNvPr>
          <p:cNvSpPr/>
          <p:nvPr userDrawn="1"/>
        </p:nvSpPr>
        <p:spPr>
          <a:xfrm>
            <a:off x="-1636710" y="2403475"/>
            <a:ext cx="1103313" cy="457200"/>
          </a:xfrm>
          <a:prstGeom prst="rect">
            <a:avLst/>
          </a:prstGeom>
          <a:solidFill>
            <a:srgbClr val="002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0 43 69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83222D-8128-4052-B725-FB4CE2867F73}"/>
              </a:ext>
            </a:extLst>
          </p:cNvPr>
          <p:cNvSpPr/>
          <p:nvPr userDrawn="1"/>
        </p:nvSpPr>
        <p:spPr>
          <a:xfrm>
            <a:off x="-1636710" y="2946401"/>
            <a:ext cx="1103313" cy="457200"/>
          </a:xfrm>
          <a:prstGeom prst="rect">
            <a:avLst/>
          </a:prstGeom>
          <a:solidFill>
            <a:srgbClr val="BEB9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190 185 166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511F078-1669-4FC5-B3E8-AE37F64D79E7}"/>
              </a:ext>
            </a:extLst>
          </p:cNvPr>
          <p:cNvSpPr/>
          <p:nvPr userDrawn="1"/>
        </p:nvSpPr>
        <p:spPr>
          <a:xfrm>
            <a:off x="-1636710" y="3489326"/>
            <a:ext cx="1103313" cy="457200"/>
          </a:xfrm>
          <a:prstGeom prst="rect">
            <a:avLst/>
          </a:prstGeom>
          <a:solidFill>
            <a:srgbClr val="34B2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52 178 51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48F7336-EE09-488B-9DD2-7CF552941E5B}"/>
              </a:ext>
            </a:extLst>
          </p:cNvPr>
          <p:cNvSpPr/>
          <p:nvPr userDrawn="1"/>
        </p:nvSpPr>
        <p:spPr>
          <a:xfrm>
            <a:off x="-1255711" y="4032250"/>
            <a:ext cx="1103313" cy="457200"/>
          </a:xfrm>
          <a:prstGeom prst="rect">
            <a:avLst/>
          </a:prstGeom>
          <a:solidFill>
            <a:srgbClr val="ED2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237 41 57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4B7F982-BC82-4F55-A225-78A3A7A9FDF9}"/>
              </a:ext>
            </a:extLst>
          </p:cNvPr>
          <p:cNvSpPr/>
          <p:nvPr userDrawn="1"/>
        </p:nvSpPr>
        <p:spPr>
          <a:xfrm>
            <a:off x="-1255711" y="4575176"/>
            <a:ext cx="1103313" cy="457200"/>
          </a:xfrm>
          <a:prstGeom prst="rect">
            <a:avLst/>
          </a:prstGeom>
          <a:solidFill>
            <a:srgbClr val="5A24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90 36 90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09B8F7A-F304-4616-AC0A-FF03E799FBF8}"/>
              </a:ext>
            </a:extLst>
          </p:cNvPr>
          <p:cNvSpPr/>
          <p:nvPr userDrawn="1"/>
        </p:nvSpPr>
        <p:spPr>
          <a:xfrm>
            <a:off x="-1255711" y="5118101"/>
            <a:ext cx="1103313" cy="4572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153 153 153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2FE072E-B13E-47DD-9CA8-589E3EFF61C9}"/>
              </a:ext>
            </a:extLst>
          </p:cNvPr>
          <p:cNvSpPr/>
          <p:nvPr userDrawn="1"/>
        </p:nvSpPr>
        <p:spPr>
          <a:xfrm>
            <a:off x="-1255711" y="5661025"/>
            <a:ext cx="1103313" cy="457200"/>
          </a:xfrm>
          <a:prstGeom prst="rect">
            <a:avLst/>
          </a:prstGeom>
          <a:solidFill>
            <a:srgbClr val="FFA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255 161 0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6EF00A-84C0-4305-917C-7090445DE75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4000" y="6401661"/>
            <a:ext cx="10188000" cy="446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3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443362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F1BAEBD-2FBE-4079-8B8E-E051F3F22B12}"/>
              </a:ext>
            </a:extLst>
          </p:cNvPr>
          <p:cNvSpPr/>
          <p:nvPr userDrawn="1"/>
        </p:nvSpPr>
        <p:spPr>
          <a:xfrm>
            <a:off x="-1636710" y="1317626"/>
            <a:ext cx="1103313" cy="457200"/>
          </a:xfrm>
          <a:prstGeom prst="rect">
            <a:avLst/>
          </a:prstGeom>
          <a:solidFill>
            <a:srgbClr val="3D7E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61 126 219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D34E4D4-86B2-4250-8A8F-D8DF569D2E53}"/>
              </a:ext>
            </a:extLst>
          </p:cNvPr>
          <p:cNvSpPr/>
          <p:nvPr userDrawn="1"/>
        </p:nvSpPr>
        <p:spPr>
          <a:xfrm>
            <a:off x="-1636710" y="1860551"/>
            <a:ext cx="1103313" cy="457200"/>
          </a:xfrm>
          <a:prstGeom prst="rect">
            <a:avLst/>
          </a:prstGeom>
          <a:solidFill>
            <a:srgbClr val="0083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0 131 169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2458DDA-AB1F-44CE-AA1E-1A3FEEC2C017}"/>
              </a:ext>
            </a:extLst>
          </p:cNvPr>
          <p:cNvSpPr/>
          <p:nvPr userDrawn="1"/>
        </p:nvSpPr>
        <p:spPr>
          <a:xfrm>
            <a:off x="-1636710" y="2403475"/>
            <a:ext cx="1103313" cy="457200"/>
          </a:xfrm>
          <a:prstGeom prst="rect">
            <a:avLst/>
          </a:prstGeom>
          <a:solidFill>
            <a:srgbClr val="002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0 43 69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83222D-8128-4052-B725-FB4CE2867F73}"/>
              </a:ext>
            </a:extLst>
          </p:cNvPr>
          <p:cNvSpPr/>
          <p:nvPr userDrawn="1"/>
        </p:nvSpPr>
        <p:spPr>
          <a:xfrm>
            <a:off x="-1636710" y="2946401"/>
            <a:ext cx="1103313" cy="457200"/>
          </a:xfrm>
          <a:prstGeom prst="rect">
            <a:avLst/>
          </a:prstGeom>
          <a:solidFill>
            <a:srgbClr val="BEB9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190 185 166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511F078-1669-4FC5-B3E8-AE37F64D79E7}"/>
              </a:ext>
            </a:extLst>
          </p:cNvPr>
          <p:cNvSpPr/>
          <p:nvPr userDrawn="1"/>
        </p:nvSpPr>
        <p:spPr>
          <a:xfrm>
            <a:off x="-1636710" y="3489326"/>
            <a:ext cx="1103313" cy="457200"/>
          </a:xfrm>
          <a:prstGeom prst="rect">
            <a:avLst/>
          </a:prstGeom>
          <a:solidFill>
            <a:srgbClr val="34B2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52 178 51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48F7336-EE09-488B-9DD2-7CF552941E5B}"/>
              </a:ext>
            </a:extLst>
          </p:cNvPr>
          <p:cNvSpPr/>
          <p:nvPr userDrawn="1"/>
        </p:nvSpPr>
        <p:spPr>
          <a:xfrm>
            <a:off x="-1255711" y="4032250"/>
            <a:ext cx="1103313" cy="457200"/>
          </a:xfrm>
          <a:prstGeom prst="rect">
            <a:avLst/>
          </a:prstGeom>
          <a:solidFill>
            <a:srgbClr val="ED2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237 41 57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4B7F982-BC82-4F55-A225-78A3A7A9FDF9}"/>
              </a:ext>
            </a:extLst>
          </p:cNvPr>
          <p:cNvSpPr/>
          <p:nvPr userDrawn="1"/>
        </p:nvSpPr>
        <p:spPr>
          <a:xfrm>
            <a:off x="-1255711" y="4575176"/>
            <a:ext cx="1103313" cy="457200"/>
          </a:xfrm>
          <a:prstGeom prst="rect">
            <a:avLst/>
          </a:prstGeom>
          <a:solidFill>
            <a:srgbClr val="5A24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90 36 90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09B8F7A-F304-4616-AC0A-FF03E799FBF8}"/>
              </a:ext>
            </a:extLst>
          </p:cNvPr>
          <p:cNvSpPr/>
          <p:nvPr userDrawn="1"/>
        </p:nvSpPr>
        <p:spPr>
          <a:xfrm>
            <a:off x="-1255711" y="5118101"/>
            <a:ext cx="1103313" cy="4572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153 153 153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2FE072E-B13E-47DD-9CA8-589E3EFF61C9}"/>
              </a:ext>
            </a:extLst>
          </p:cNvPr>
          <p:cNvSpPr/>
          <p:nvPr userDrawn="1"/>
        </p:nvSpPr>
        <p:spPr>
          <a:xfrm>
            <a:off x="-1255711" y="5661025"/>
            <a:ext cx="1103313" cy="457200"/>
          </a:xfrm>
          <a:prstGeom prst="rect">
            <a:avLst/>
          </a:prstGeom>
          <a:solidFill>
            <a:srgbClr val="FFA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255 161 0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178F1A1-059E-4F87-BB3F-45A5DE517192}"/>
              </a:ext>
            </a:extLst>
          </p:cNvPr>
          <p:cNvCxnSpPr/>
          <p:nvPr userDrawn="1"/>
        </p:nvCxnSpPr>
        <p:spPr>
          <a:xfrm>
            <a:off x="324000" y="614754"/>
            <a:ext cx="11448000" cy="0"/>
          </a:xfrm>
          <a:prstGeom prst="line">
            <a:avLst/>
          </a:prstGeom>
          <a:solidFill>
            <a:srgbClr val="FFFFFF"/>
          </a:solidFill>
          <a:ln w="38100">
            <a:gradFill flip="none" rotWithShape="1">
              <a:gsLst>
                <a:gs pos="0">
                  <a:srgbClr val="3D7EDB"/>
                </a:gs>
                <a:gs pos="30000">
                  <a:srgbClr val="34B233"/>
                </a:gs>
                <a:gs pos="50000">
                  <a:srgbClr val="ED2939"/>
                </a:gs>
                <a:gs pos="69000">
                  <a:srgbClr val="FFA100"/>
                </a:gs>
                <a:gs pos="85000">
                  <a:srgbClr val="5A245A">
                    <a:alpha val="95000"/>
                  </a:srgb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6EF00A-84C0-4305-917C-7090445DE75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4000" y="6401661"/>
            <a:ext cx="10188000" cy="446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3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2DADE6-AB3B-4CB2-9B47-858E6953311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0" y="306000"/>
            <a:ext cx="11340000" cy="277200"/>
          </a:xfrm>
          <a:prstGeom prst="rect">
            <a:avLst/>
          </a:prstGeom>
        </p:spPr>
        <p:txBody>
          <a:bodyPr lIns="0" tIns="0" rIns="36000" bIns="0" anchor="b" anchorCtr="0"/>
          <a:lstStyle>
            <a:lvl1pPr marL="0" indent="0">
              <a:buNone/>
              <a:defRPr sz="1463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9977" indent="0">
              <a:buNone/>
              <a:defRPr/>
            </a:lvl2pPr>
            <a:lvl3pPr marL="259953" indent="0">
              <a:buNone/>
              <a:defRPr/>
            </a:lvl3pPr>
            <a:lvl4pPr marL="389929" indent="0">
              <a:buNone/>
              <a:defRPr/>
            </a:lvl4pPr>
            <a:lvl5pPr marL="51990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  <a:endParaRPr lang="en-IN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24C0FF1-9780-41E1-9528-A42451479A0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01904" y="750210"/>
            <a:ext cx="3852000" cy="216000"/>
          </a:xfrm>
          <a:prstGeom prst="rect">
            <a:avLst/>
          </a:prstGeom>
        </p:spPr>
        <p:txBody>
          <a:bodyPr wrap="square" lIns="36000" tIns="0" rIns="0" bIns="0" anchor="b">
            <a:noAutofit/>
          </a:bodyPr>
          <a:lstStyle>
            <a:lvl1pPr>
              <a:defRPr lang="en-US" sz="975" b="1" dirty="0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21" name="Chart Placeholder 16">
            <a:extLst>
              <a:ext uri="{FF2B5EF4-FFF2-40B4-BE49-F238E27FC236}">
                <a16:creationId xmlns:a16="http://schemas.microsoft.com/office/drawing/2014/main" id="{69DBAA8D-F125-49FD-BFCD-962A221F53F2}"/>
              </a:ext>
            </a:extLst>
          </p:cNvPr>
          <p:cNvSpPr>
            <a:spLocks noGrp="1"/>
          </p:cNvSpPr>
          <p:nvPr>
            <p:ph type="chart" sz="quarter" idx="42"/>
          </p:nvPr>
        </p:nvSpPr>
        <p:spPr>
          <a:xfrm>
            <a:off x="601904" y="1018192"/>
            <a:ext cx="3852000" cy="2268000"/>
          </a:xfrm>
          <a:prstGeom prst="rect">
            <a:avLst/>
          </a:prstGeom>
        </p:spPr>
        <p:txBody>
          <a:bodyPr/>
          <a:lstStyle>
            <a:lvl1pPr>
              <a:defRPr sz="853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IN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472BFEA-F861-46F0-A4E3-E370ED09636A}"/>
              </a:ext>
            </a:extLst>
          </p:cNvPr>
          <p:cNvCxnSpPr>
            <a:cxnSpLocks/>
          </p:cNvCxnSpPr>
          <p:nvPr userDrawn="1"/>
        </p:nvCxnSpPr>
        <p:spPr>
          <a:xfrm>
            <a:off x="601904" y="975983"/>
            <a:ext cx="385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1E2482CE-D284-4FEC-B081-C661BAFFD90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01904" y="3655117"/>
            <a:ext cx="3852000" cy="216000"/>
          </a:xfrm>
          <a:prstGeom prst="rect">
            <a:avLst/>
          </a:prstGeom>
        </p:spPr>
        <p:txBody>
          <a:bodyPr wrap="square" lIns="36000" tIns="0" rIns="0" bIns="0" anchor="b">
            <a:noAutofit/>
          </a:bodyPr>
          <a:lstStyle>
            <a:lvl1pPr>
              <a:defRPr lang="en-US" sz="975" b="1" dirty="0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26" name="Chart Placeholder 16">
            <a:extLst>
              <a:ext uri="{FF2B5EF4-FFF2-40B4-BE49-F238E27FC236}">
                <a16:creationId xmlns:a16="http://schemas.microsoft.com/office/drawing/2014/main" id="{E11C7232-B265-4DBD-AC57-600E02743187}"/>
              </a:ext>
            </a:extLst>
          </p:cNvPr>
          <p:cNvSpPr>
            <a:spLocks noGrp="1"/>
          </p:cNvSpPr>
          <p:nvPr>
            <p:ph type="chart" sz="quarter" idx="44"/>
          </p:nvPr>
        </p:nvSpPr>
        <p:spPr>
          <a:xfrm>
            <a:off x="601904" y="3923099"/>
            <a:ext cx="3852000" cy="2268000"/>
          </a:xfrm>
          <a:prstGeom prst="rect">
            <a:avLst/>
          </a:prstGeom>
        </p:spPr>
        <p:txBody>
          <a:bodyPr/>
          <a:lstStyle>
            <a:lvl1pPr>
              <a:defRPr sz="853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IN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5309AEF-924E-4258-99C4-F01579DACDD3}"/>
              </a:ext>
            </a:extLst>
          </p:cNvPr>
          <p:cNvCxnSpPr>
            <a:cxnSpLocks/>
          </p:cNvCxnSpPr>
          <p:nvPr userDrawn="1"/>
        </p:nvCxnSpPr>
        <p:spPr>
          <a:xfrm>
            <a:off x="601904" y="3880890"/>
            <a:ext cx="385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384363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F1BAEBD-2FBE-4079-8B8E-E051F3F22B12}"/>
              </a:ext>
            </a:extLst>
          </p:cNvPr>
          <p:cNvSpPr/>
          <p:nvPr userDrawn="1"/>
        </p:nvSpPr>
        <p:spPr>
          <a:xfrm>
            <a:off x="-1636710" y="1317626"/>
            <a:ext cx="1103313" cy="457200"/>
          </a:xfrm>
          <a:prstGeom prst="rect">
            <a:avLst/>
          </a:prstGeom>
          <a:solidFill>
            <a:srgbClr val="3D7E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61 126 219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D34E4D4-86B2-4250-8A8F-D8DF569D2E53}"/>
              </a:ext>
            </a:extLst>
          </p:cNvPr>
          <p:cNvSpPr/>
          <p:nvPr userDrawn="1"/>
        </p:nvSpPr>
        <p:spPr>
          <a:xfrm>
            <a:off x="-1636710" y="1860551"/>
            <a:ext cx="1103313" cy="457200"/>
          </a:xfrm>
          <a:prstGeom prst="rect">
            <a:avLst/>
          </a:prstGeom>
          <a:solidFill>
            <a:srgbClr val="0083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0 131 169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2458DDA-AB1F-44CE-AA1E-1A3FEEC2C017}"/>
              </a:ext>
            </a:extLst>
          </p:cNvPr>
          <p:cNvSpPr/>
          <p:nvPr userDrawn="1"/>
        </p:nvSpPr>
        <p:spPr>
          <a:xfrm>
            <a:off x="-1636710" y="2403475"/>
            <a:ext cx="1103313" cy="457200"/>
          </a:xfrm>
          <a:prstGeom prst="rect">
            <a:avLst/>
          </a:prstGeom>
          <a:solidFill>
            <a:srgbClr val="002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0 43 69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83222D-8128-4052-B725-FB4CE2867F73}"/>
              </a:ext>
            </a:extLst>
          </p:cNvPr>
          <p:cNvSpPr/>
          <p:nvPr userDrawn="1"/>
        </p:nvSpPr>
        <p:spPr>
          <a:xfrm>
            <a:off x="-1636710" y="2946401"/>
            <a:ext cx="1103313" cy="457200"/>
          </a:xfrm>
          <a:prstGeom prst="rect">
            <a:avLst/>
          </a:prstGeom>
          <a:solidFill>
            <a:srgbClr val="BEB9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190 185 166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511F078-1669-4FC5-B3E8-AE37F64D79E7}"/>
              </a:ext>
            </a:extLst>
          </p:cNvPr>
          <p:cNvSpPr/>
          <p:nvPr userDrawn="1"/>
        </p:nvSpPr>
        <p:spPr>
          <a:xfrm>
            <a:off x="-1636710" y="3489326"/>
            <a:ext cx="1103313" cy="457200"/>
          </a:xfrm>
          <a:prstGeom prst="rect">
            <a:avLst/>
          </a:prstGeom>
          <a:solidFill>
            <a:srgbClr val="34B2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52 178 51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48F7336-EE09-488B-9DD2-7CF552941E5B}"/>
              </a:ext>
            </a:extLst>
          </p:cNvPr>
          <p:cNvSpPr/>
          <p:nvPr userDrawn="1"/>
        </p:nvSpPr>
        <p:spPr>
          <a:xfrm>
            <a:off x="-1255711" y="4032250"/>
            <a:ext cx="1103313" cy="457200"/>
          </a:xfrm>
          <a:prstGeom prst="rect">
            <a:avLst/>
          </a:prstGeom>
          <a:solidFill>
            <a:srgbClr val="ED2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237 41 57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4B7F982-BC82-4F55-A225-78A3A7A9FDF9}"/>
              </a:ext>
            </a:extLst>
          </p:cNvPr>
          <p:cNvSpPr/>
          <p:nvPr userDrawn="1"/>
        </p:nvSpPr>
        <p:spPr>
          <a:xfrm>
            <a:off x="-1255711" y="4575176"/>
            <a:ext cx="1103313" cy="457200"/>
          </a:xfrm>
          <a:prstGeom prst="rect">
            <a:avLst/>
          </a:prstGeom>
          <a:solidFill>
            <a:srgbClr val="5A24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90 36 90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09B8F7A-F304-4616-AC0A-FF03E799FBF8}"/>
              </a:ext>
            </a:extLst>
          </p:cNvPr>
          <p:cNvSpPr/>
          <p:nvPr userDrawn="1"/>
        </p:nvSpPr>
        <p:spPr>
          <a:xfrm>
            <a:off x="-1255711" y="5118101"/>
            <a:ext cx="1103313" cy="4572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153 153 153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2FE072E-B13E-47DD-9CA8-589E3EFF61C9}"/>
              </a:ext>
            </a:extLst>
          </p:cNvPr>
          <p:cNvSpPr/>
          <p:nvPr userDrawn="1"/>
        </p:nvSpPr>
        <p:spPr>
          <a:xfrm>
            <a:off x="-1255711" y="5661025"/>
            <a:ext cx="1103313" cy="457200"/>
          </a:xfrm>
          <a:prstGeom prst="rect">
            <a:avLst/>
          </a:prstGeom>
          <a:solidFill>
            <a:srgbClr val="FFA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255 161 0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178F1A1-059E-4F87-BB3F-45A5DE517192}"/>
              </a:ext>
            </a:extLst>
          </p:cNvPr>
          <p:cNvCxnSpPr/>
          <p:nvPr userDrawn="1"/>
        </p:nvCxnSpPr>
        <p:spPr>
          <a:xfrm>
            <a:off x="324000" y="614754"/>
            <a:ext cx="11448000" cy="0"/>
          </a:xfrm>
          <a:prstGeom prst="line">
            <a:avLst/>
          </a:prstGeom>
          <a:solidFill>
            <a:srgbClr val="FFFFFF"/>
          </a:solidFill>
          <a:ln w="38100">
            <a:gradFill flip="none" rotWithShape="1">
              <a:gsLst>
                <a:gs pos="0">
                  <a:srgbClr val="3D7EDB"/>
                </a:gs>
                <a:gs pos="30000">
                  <a:srgbClr val="34B233"/>
                </a:gs>
                <a:gs pos="50000">
                  <a:srgbClr val="ED2939"/>
                </a:gs>
                <a:gs pos="69000">
                  <a:srgbClr val="FFA100"/>
                </a:gs>
                <a:gs pos="85000">
                  <a:srgbClr val="5A245A">
                    <a:alpha val="95000"/>
                  </a:srgb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6EF00A-84C0-4305-917C-7090445DE75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4000" y="6401661"/>
            <a:ext cx="10188000" cy="446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3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2DADE6-AB3B-4CB2-9B47-858E6953311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0" y="306000"/>
            <a:ext cx="11340000" cy="277200"/>
          </a:xfrm>
          <a:prstGeom prst="rect">
            <a:avLst/>
          </a:prstGeom>
        </p:spPr>
        <p:txBody>
          <a:bodyPr lIns="0" tIns="0" rIns="36000" bIns="0" anchor="b" anchorCtr="0"/>
          <a:lstStyle>
            <a:lvl1pPr marL="0" indent="0">
              <a:buNone/>
              <a:defRPr sz="1463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9977" indent="0">
              <a:buNone/>
              <a:defRPr/>
            </a:lvl2pPr>
            <a:lvl3pPr marL="259953" indent="0">
              <a:buNone/>
              <a:defRPr/>
            </a:lvl3pPr>
            <a:lvl4pPr marL="389929" indent="0">
              <a:buNone/>
              <a:defRPr/>
            </a:lvl4pPr>
            <a:lvl5pPr marL="51990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  <a:endParaRPr lang="en-IN"/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368F1309-7652-49CD-BCA4-829666930FF7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6249026" y="1023847"/>
            <a:ext cx="2180272" cy="1636776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5418C579-99EA-4915-BDA0-1776138B30A7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324001" y="3941662"/>
            <a:ext cx="2713490" cy="1633641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A5B5103D-1DC7-46BC-AB33-F2F8FE678ADA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3153729" y="3954499"/>
            <a:ext cx="2693246" cy="1620802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0EDC3E8A-9674-442C-874F-00E4E7D00C67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6249026" y="3941661"/>
            <a:ext cx="2474561" cy="1633641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F578716B-01B0-4E8F-A73B-6738A983D91C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324000" y="1026193"/>
            <a:ext cx="2902676" cy="1633641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8946D0EA-5751-41B3-9AFC-C11B4EF3333F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3331779" y="1039030"/>
            <a:ext cx="2515196" cy="1620802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5E9A98D6-9A80-4215-8E1A-F9F654939536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8839200" y="3941660"/>
            <a:ext cx="2932800" cy="1633641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921F3F85-8269-4233-806C-12AD602ECD1D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8534400" y="1031043"/>
            <a:ext cx="3237600" cy="1636776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9528511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F1BAEBD-2FBE-4079-8B8E-E051F3F22B12}"/>
              </a:ext>
            </a:extLst>
          </p:cNvPr>
          <p:cNvSpPr/>
          <p:nvPr userDrawn="1"/>
        </p:nvSpPr>
        <p:spPr>
          <a:xfrm>
            <a:off x="-1636710" y="1317626"/>
            <a:ext cx="1103313" cy="457200"/>
          </a:xfrm>
          <a:prstGeom prst="rect">
            <a:avLst/>
          </a:prstGeom>
          <a:solidFill>
            <a:srgbClr val="3D7E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61 126 219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D34E4D4-86B2-4250-8A8F-D8DF569D2E53}"/>
              </a:ext>
            </a:extLst>
          </p:cNvPr>
          <p:cNvSpPr/>
          <p:nvPr userDrawn="1"/>
        </p:nvSpPr>
        <p:spPr>
          <a:xfrm>
            <a:off x="-1636710" y="1860551"/>
            <a:ext cx="1103313" cy="457200"/>
          </a:xfrm>
          <a:prstGeom prst="rect">
            <a:avLst/>
          </a:prstGeom>
          <a:solidFill>
            <a:srgbClr val="0083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0 131 169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2458DDA-AB1F-44CE-AA1E-1A3FEEC2C017}"/>
              </a:ext>
            </a:extLst>
          </p:cNvPr>
          <p:cNvSpPr/>
          <p:nvPr userDrawn="1"/>
        </p:nvSpPr>
        <p:spPr>
          <a:xfrm>
            <a:off x="-1636710" y="2403475"/>
            <a:ext cx="1103313" cy="457200"/>
          </a:xfrm>
          <a:prstGeom prst="rect">
            <a:avLst/>
          </a:prstGeom>
          <a:solidFill>
            <a:srgbClr val="002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0 43 69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83222D-8128-4052-B725-FB4CE2867F73}"/>
              </a:ext>
            </a:extLst>
          </p:cNvPr>
          <p:cNvSpPr/>
          <p:nvPr userDrawn="1"/>
        </p:nvSpPr>
        <p:spPr>
          <a:xfrm>
            <a:off x="-1636710" y="2946401"/>
            <a:ext cx="1103313" cy="457200"/>
          </a:xfrm>
          <a:prstGeom prst="rect">
            <a:avLst/>
          </a:prstGeom>
          <a:solidFill>
            <a:srgbClr val="BEB9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190 185 166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511F078-1669-4FC5-B3E8-AE37F64D79E7}"/>
              </a:ext>
            </a:extLst>
          </p:cNvPr>
          <p:cNvSpPr/>
          <p:nvPr userDrawn="1"/>
        </p:nvSpPr>
        <p:spPr>
          <a:xfrm>
            <a:off x="-1636710" y="3489326"/>
            <a:ext cx="1103313" cy="457200"/>
          </a:xfrm>
          <a:prstGeom prst="rect">
            <a:avLst/>
          </a:prstGeom>
          <a:solidFill>
            <a:srgbClr val="34B2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52 178 51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48F7336-EE09-488B-9DD2-7CF552941E5B}"/>
              </a:ext>
            </a:extLst>
          </p:cNvPr>
          <p:cNvSpPr/>
          <p:nvPr userDrawn="1"/>
        </p:nvSpPr>
        <p:spPr>
          <a:xfrm>
            <a:off x="-1255711" y="4032250"/>
            <a:ext cx="1103313" cy="457200"/>
          </a:xfrm>
          <a:prstGeom prst="rect">
            <a:avLst/>
          </a:prstGeom>
          <a:solidFill>
            <a:srgbClr val="ED2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237 41 57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4B7F982-BC82-4F55-A225-78A3A7A9FDF9}"/>
              </a:ext>
            </a:extLst>
          </p:cNvPr>
          <p:cNvSpPr/>
          <p:nvPr userDrawn="1"/>
        </p:nvSpPr>
        <p:spPr>
          <a:xfrm>
            <a:off x="-1255711" y="4575176"/>
            <a:ext cx="1103313" cy="457200"/>
          </a:xfrm>
          <a:prstGeom prst="rect">
            <a:avLst/>
          </a:prstGeom>
          <a:solidFill>
            <a:srgbClr val="5A24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90 36 90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09B8F7A-F304-4616-AC0A-FF03E799FBF8}"/>
              </a:ext>
            </a:extLst>
          </p:cNvPr>
          <p:cNvSpPr/>
          <p:nvPr userDrawn="1"/>
        </p:nvSpPr>
        <p:spPr>
          <a:xfrm>
            <a:off x="-1255711" y="5118101"/>
            <a:ext cx="1103313" cy="4572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153 153 153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2FE072E-B13E-47DD-9CA8-589E3EFF61C9}"/>
              </a:ext>
            </a:extLst>
          </p:cNvPr>
          <p:cNvSpPr/>
          <p:nvPr userDrawn="1"/>
        </p:nvSpPr>
        <p:spPr>
          <a:xfrm>
            <a:off x="-1255711" y="5661025"/>
            <a:ext cx="1103313" cy="457200"/>
          </a:xfrm>
          <a:prstGeom prst="rect">
            <a:avLst/>
          </a:prstGeom>
          <a:solidFill>
            <a:srgbClr val="FFA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255 161 0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178F1A1-059E-4F87-BB3F-45A5DE517192}"/>
              </a:ext>
            </a:extLst>
          </p:cNvPr>
          <p:cNvCxnSpPr/>
          <p:nvPr userDrawn="1"/>
        </p:nvCxnSpPr>
        <p:spPr>
          <a:xfrm>
            <a:off x="324000" y="614754"/>
            <a:ext cx="11448000" cy="0"/>
          </a:xfrm>
          <a:prstGeom prst="line">
            <a:avLst/>
          </a:prstGeom>
          <a:solidFill>
            <a:srgbClr val="FFFFFF"/>
          </a:solidFill>
          <a:ln w="38100">
            <a:gradFill flip="none" rotWithShape="1">
              <a:gsLst>
                <a:gs pos="0">
                  <a:srgbClr val="3D7EDB"/>
                </a:gs>
                <a:gs pos="30000">
                  <a:srgbClr val="34B233"/>
                </a:gs>
                <a:gs pos="50000">
                  <a:srgbClr val="ED2939"/>
                </a:gs>
                <a:gs pos="69000">
                  <a:srgbClr val="FFA100"/>
                </a:gs>
                <a:gs pos="85000">
                  <a:srgbClr val="5A245A">
                    <a:alpha val="95000"/>
                  </a:srgb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6EF00A-84C0-4305-917C-7090445DE75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4000" y="6401661"/>
            <a:ext cx="10188000" cy="446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3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2DADE6-AB3B-4CB2-9B47-858E6953311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0" y="306000"/>
            <a:ext cx="11340000" cy="277200"/>
          </a:xfrm>
          <a:prstGeom prst="rect">
            <a:avLst/>
          </a:prstGeom>
        </p:spPr>
        <p:txBody>
          <a:bodyPr lIns="0" tIns="0" rIns="36000" bIns="0" anchor="b" anchorCtr="0"/>
          <a:lstStyle>
            <a:lvl1pPr marL="0" indent="0">
              <a:buNone/>
              <a:defRPr sz="1463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9977" indent="0">
              <a:buNone/>
              <a:defRPr/>
            </a:lvl2pPr>
            <a:lvl3pPr marL="259953" indent="0">
              <a:buNone/>
              <a:defRPr/>
            </a:lvl3pPr>
            <a:lvl4pPr marL="389929" indent="0">
              <a:buNone/>
              <a:defRPr/>
            </a:lvl4pPr>
            <a:lvl5pPr marL="51990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  <a:endParaRPr lang="en-IN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E655B950-DBF1-45B1-A86E-5C552FFD3915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455574" y="3353005"/>
            <a:ext cx="3240000" cy="216000"/>
          </a:xfrm>
          <a:prstGeom prst="rect">
            <a:avLst/>
          </a:prstGeom>
        </p:spPr>
        <p:txBody>
          <a:bodyPr wrap="square" lIns="36000" tIns="0" rIns="0" bIns="0" anchor="b">
            <a:noAutofit/>
          </a:bodyPr>
          <a:lstStyle>
            <a:lvl1pPr marL="0" indent="0">
              <a:buNone/>
              <a:defRPr lang="en-US" sz="975" b="1" dirty="0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97483" lvl="0" indent="-97483"/>
            <a:r>
              <a:rPr lang="en-US"/>
              <a:t>Edit Master text styles</a:t>
            </a:r>
          </a:p>
        </p:txBody>
      </p:sp>
      <p:sp>
        <p:nvSpPr>
          <p:cNvPr id="25" name="Chart Placeholder 16">
            <a:extLst>
              <a:ext uri="{FF2B5EF4-FFF2-40B4-BE49-F238E27FC236}">
                <a16:creationId xmlns:a16="http://schemas.microsoft.com/office/drawing/2014/main" id="{F46C6FB0-9E5B-4FAA-914D-2F5FB2768231}"/>
              </a:ext>
            </a:extLst>
          </p:cNvPr>
          <p:cNvSpPr>
            <a:spLocks noGrp="1"/>
          </p:cNvSpPr>
          <p:nvPr>
            <p:ph type="chart" sz="quarter" idx="40"/>
          </p:nvPr>
        </p:nvSpPr>
        <p:spPr>
          <a:xfrm>
            <a:off x="8456686" y="3620987"/>
            <a:ext cx="3240000" cy="2770900"/>
          </a:xfrm>
          <a:prstGeom prst="rect">
            <a:avLst/>
          </a:prstGeom>
        </p:spPr>
        <p:txBody>
          <a:bodyPr/>
          <a:lstStyle>
            <a:lvl1pPr>
              <a:defRPr sz="853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IN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E0B3571-3968-475B-86A9-3888A0592AF5}"/>
              </a:ext>
            </a:extLst>
          </p:cNvPr>
          <p:cNvCxnSpPr/>
          <p:nvPr userDrawn="1"/>
        </p:nvCxnSpPr>
        <p:spPr>
          <a:xfrm flipV="1">
            <a:off x="8455574" y="3578778"/>
            <a:ext cx="324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6EC18B23-B819-4B2D-B068-DA9F9A2E666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34183" y="3348588"/>
            <a:ext cx="3240000" cy="216000"/>
          </a:xfrm>
          <a:prstGeom prst="rect">
            <a:avLst/>
          </a:prstGeom>
        </p:spPr>
        <p:txBody>
          <a:bodyPr wrap="square" lIns="36000" tIns="0" rIns="0" bIns="0" anchor="b">
            <a:noAutofit/>
          </a:bodyPr>
          <a:lstStyle>
            <a:lvl1pPr marL="0" indent="0">
              <a:buNone/>
              <a:defRPr lang="en-US" sz="975" b="1" dirty="0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97483" lvl="0" indent="-97483"/>
            <a:r>
              <a:rPr lang="en-US"/>
              <a:t>Edit Master text styles</a:t>
            </a:r>
          </a:p>
        </p:txBody>
      </p:sp>
      <p:sp>
        <p:nvSpPr>
          <p:cNvPr id="28" name="Chart Placeholder 16">
            <a:extLst>
              <a:ext uri="{FF2B5EF4-FFF2-40B4-BE49-F238E27FC236}">
                <a16:creationId xmlns:a16="http://schemas.microsoft.com/office/drawing/2014/main" id="{E92F7D49-846E-4B9F-A370-1C1D7899FE15}"/>
              </a:ext>
            </a:extLst>
          </p:cNvPr>
          <p:cNvSpPr>
            <a:spLocks noGrp="1"/>
          </p:cNvSpPr>
          <p:nvPr>
            <p:ph type="chart" sz="quarter" idx="42"/>
          </p:nvPr>
        </p:nvSpPr>
        <p:spPr>
          <a:xfrm>
            <a:off x="434183" y="3616570"/>
            <a:ext cx="3240000" cy="2770900"/>
          </a:xfrm>
          <a:prstGeom prst="rect">
            <a:avLst/>
          </a:prstGeom>
        </p:spPr>
        <p:txBody>
          <a:bodyPr/>
          <a:lstStyle>
            <a:lvl1pPr>
              <a:defRPr sz="853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IN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5395B30-ADB4-460E-B405-6D9F5DEE3D42}"/>
              </a:ext>
            </a:extLst>
          </p:cNvPr>
          <p:cNvCxnSpPr/>
          <p:nvPr userDrawn="1"/>
        </p:nvCxnSpPr>
        <p:spPr>
          <a:xfrm flipV="1">
            <a:off x="434183" y="3574361"/>
            <a:ext cx="324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0C2AD09A-7D7B-4C43-AF16-C5F4469D8B65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456731" y="3348588"/>
            <a:ext cx="3240000" cy="216000"/>
          </a:xfrm>
          <a:prstGeom prst="rect">
            <a:avLst/>
          </a:prstGeom>
        </p:spPr>
        <p:txBody>
          <a:bodyPr wrap="square" lIns="36000" tIns="0" rIns="0" bIns="0" anchor="b">
            <a:noAutofit/>
          </a:bodyPr>
          <a:lstStyle>
            <a:lvl1pPr marL="0" indent="0">
              <a:buNone/>
              <a:defRPr lang="en-US" sz="975" b="1" dirty="0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97483" lvl="0" indent="-97483"/>
            <a:r>
              <a:rPr lang="en-US"/>
              <a:t>Edit Master text styles</a:t>
            </a:r>
          </a:p>
        </p:txBody>
      </p:sp>
      <p:sp>
        <p:nvSpPr>
          <p:cNvPr id="31" name="Chart Placeholder 16">
            <a:extLst>
              <a:ext uri="{FF2B5EF4-FFF2-40B4-BE49-F238E27FC236}">
                <a16:creationId xmlns:a16="http://schemas.microsoft.com/office/drawing/2014/main" id="{DE24CF5D-2E7C-4E84-941F-E8ED5F4E6532}"/>
              </a:ext>
            </a:extLst>
          </p:cNvPr>
          <p:cNvSpPr>
            <a:spLocks noGrp="1"/>
          </p:cNvSpPr>
          <p:nvPr>
            <p:ph type="chart" sz="quarter" idx="44"/>
          </p:nvPr>
        </p:nvSpPr>
        <p:spPr>
          <a:xfrm>
            <a:off x="4457842" y="3616570"/>
            <a:ext cx="3240000" cy="2770900"/>
          </a:xfrm>
          <a:prstGeom prst="rect">
            <a:avLst/>
          </a:prstGeom>
        </p:spPr>
        <p:txBody>
          <a:bodyPr/>
          <a:lstStyle>
            <a:lvl1pPr>
              <a:defRPr sz="853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IN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84121FF1-3C04-4757-9236-2355F6BF7C32}"/>
              </a:ext>
            </a:extLst>
          </p:cNvPr>
          <p:cNvCxnSpPr/>
          <p:nvPr userDrawn="1"/>
        </p:nvCxnSpPr>
        <p:spPr>
          <a:xfrm flipV="1">
            <a:off x="4456731" y="3574361"/>
            <a:ext cx="324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776582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F1BAEBD-2FBE-4079-8B8E-E051F3F22B12}"/>
              </a:ext>
            </a:extLst>
          </p:cNvPr>
          <p:cNvSpPr/>
          <p:nvPr userDrawn="1"/>
        </p:nvSpPr>
        <p:spPr>
          <a:xfrm>
            <a:off x="-1636710" y="1317626"/>
            <a:ext cx="1103313" cy="457200"/>
          </a:xfrm>
          <a:prstGeom prst="rect">
            <a:avLst/>
          </a:prstGeom>
          <a:solidFill>
            <a:srgbClr val="3D7E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61 126 219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D34E4D4-86B2-4250-8A8F-D8DF569D2E53}"/>
              </a:ext>
            </a:extLst>
          </p:cNvPr>
          <p:cNvSpPr/>
          <p:nvPr userDrawn="1"/>
        </p:nvSpPr>
        <p:spPr>
          <a:xfrm>
            <a:off x="-1636710" y="1860551"/>
            <a:ext cx="1103313" cy="457200"/>
          </a:xfrm>
          <a:prstGeom prst="rect">
            <a:avLst/>
          </a:prstGeom>
          <a:solidFill>
            <a:srgbClr val="0083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0 131 169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2458DDA-AB1F-44CE-AA1E-1A3FEEC2C017}"/>
              </a:ext>
            </a:extLst>
          </p:cNvPr>
          <p:cNvSpPr/>
          <p:nvPr userDrawn="1"/>
        </p:nvSpPr>
        <p:spPr>
          <a:xfrm>
            <a:off x="-1636710" y="2403475"/>
            <a:ext cx="1103313" cy="457200"/>
          </a:xfrm>
          <a:prstGeom prst="rect">
            <a:avLst/>
          </a:prstGeom>
          <a:solidFill>
            <a:srgbClr val="002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0 43 69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83222D-8128-4052-B725-FB4CE2867F73}"/>
              </a:ext>
            </a:extLst>
          </p:cNvPr>
          <p:cNvSpPr/>
          <p:nvPr userDrawn="1"/>
        </p:nvSpPr>
        <p:spPr>
          <a:xfrm>
            <a:off x="-1636710" y="2946401"/>
            <a:ext cx="1103313" cy="457200"/>
          </a:xfrm>
          <a:prstGeom prst="rect">
            <a:avLst/>
          </a:prstGeom>
          <a:solidFill>
            <a:srgbClr val="BEB9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190 185 166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511F078-1669-4FC5-B3E8-AE37F64D79E7}"/>
              </a:ext>
            </a:extLst>
          </p:cNvPr>
          <p:cNvSpPr/>
          <p:nvPr userDrawn="1"/>
        </p:nvSpPr>
        <p:spPr>
          <a:xfrm>
            <a:off x="-1636710" y="3489326"/>
            <a:ext cx="1103313" cy="457200"/>
          </a:xfrm>
          <a:prstGeom prst="rect">
            <a:avLst/>
          </a:prstGeom>
          <a:solidFill>
            <a:srgbClr val="34B2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52 178 51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48F7336-EE09-488B-9DD2-7CF552941E5B}"/>
              </a:ext>
            </a:extLst>
          </p:cNvPr>
          <p:cNvSpPr/>
          <p:nvPr userDrawn="1"/>
        </p:nvSpPr>
        <p:spPr>
          <a:xfrm>
            <a:off x="-1255711" y="4032250"/>
            <a:ext cx="1103313" cy="457200"/>
          </a:xfrm>
          <a:prstGeom prst="rect">
            <a:avLst/>
          </a:prstGeom>
          <a:solidFill>
            <a:srgbClr val="ED2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237 41 57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4B7F982-BC82-4F55-A225-78A3A7A9FDF9}"/>
              </a:ext>
            </a:extLst>
          </p:cNvPr>
          <p:cNvSpPr/>
          <p:nvPr userDrawn="1"/>
        </p:nvSpPr>
        <p:spPr>
          <a:xfrm>
            <a:off x="-1255711" y="4575176"/>
            <a:ext cx="1103313" cy="457200"/>
          </a:xfrm>
          <a:prstGeom prst="rect">
            <a:avLst/>
          </a:prstGeom>
          <a:solidFill>
            <a:srgbClr val="5A24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90 36 90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09B8F7A-F304-4616-AC0A-FF03E799FBF8}"/>
              </a:ext>
            </a:extLst>
          </p:cNvPr>
          <p:cNvSpPr/>
          <p:nvPr userDrawn="1"/>
        </p:nvSpPr>
        <p:spPr>
          <a:xfrm>
            <a:off x="-1255711" y="5118101"/>
            <a:ext cx="1103313" cy="4572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153 153 153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2FE072E-B13E-47DD-9CA8-589E3EFF61C9}"/>
              </a:ext>
            </a:extLst>
          </p:cNvPr>
          <p:cNvSpPr/>
          <p:nvPr userDrawn="1"/>
        </p:nvSpPr>
        <p:spPr>
          <a:xfrm>
            <a:off x="-1255711" y="5661025"/>
            <a:ext cx="1103313" cy="457200"/>
          </a:xfrm>
          <a:prstGeom prst="rect">
            <a:avLst/>
          </a:prstGeom>
          <a:solidFill>
            <a:srgbClr val="FFA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255 161 0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7CA3C3A-00D5-421A-B66B-7CF1C6F36A6E}"/>
              </a:ext>
            </a:extLst>
          </p:cNvPr>
          <p:cNvSpPr>
            <a:spLocks noGrp="1"/>
          </p:cNvSpPr>
          <p:nvPr userDrawn="1">
            <p:ph type="body" sz="quarter" idx="42"/>
          </p:nvPr>
        </p:nvSpPr>
        <p:spPr>
          <a:xfrm>
            <a:off x="324000" y="6365508"/>
            <a:ext cx="10224000" cy="48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3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9977" indent="0">
              <a:buNone/>
              <a:defRPr/>
            </a:lvl2pPr>
            <a:lvl3pPr marL="259953" indent="0">
              <a:buNone/>
              <a:defRPr/>
            </a:lvl3pPr>
            <a:lvl4pPr marL="389929" indent="0">
              <a:buNone/>
              <a:defRPr/>
            </a:lvl4pPr>
            <a:lvl5pPr marL="51990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5235950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E984BCBC-23B5-47D2-9706-E91BE953F4F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530926" y="964589"/>
            <a:ext cx="2952000" cy="216000"/>
          </a:xfrm>
          <a:prstGeom prst="rect">
            <a:avLst/>
          </a:prstGeom>
        </p:spPr>
        <p:txBody>
          <a:bodyPr lIns="36000" tIns="0" rIns="0" bIns="36000" anchor="b"/>
          <a:lstStyle>
            <a:lvl1pPr>
              <a:defRPr lang="en-US" sz="975" b="1" dirty="0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>
              <a:spcBef>
                <a:spcPts val="0"/>
              </a:spcBef>
              <a:buNone/>
            </a:pPr>
            <a:r>
              <a:rPr lang="en-US"/>
              <a:t>Edit Master text </a:t>
            </a:r>
          </a:p>
          <a:p>
            <a:pPr lvl="0" algn="ctr">
              <a:spcBef>
                <a:spcPts val="0"/>
              </a:spcBef>
              <a:buNone/>
            </a:pPr>
            <a:r>
              <a:rPr lang="en-US"/>
              <a:t>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6224028-0253-43C7-B90D-2968ED035D09}"/>
              </a:ext>
            </a:extLst>
          </p:cNvPr>
          <p:cNvSpPr/>
          <p:nvPr userDrawn="1"/>
        </p:nvSpPr>
        <p:spPr>
          <a:xfrm>
            <a:off x="-1636710" y="1317626"/>
            <a:ext cx="1103313" cy="457200"/>
          </a:xfrm>
          <a:prstGeom prst="rect">
            <a:avLst/>
          </a:prstGeom>
          <a:solidFill>
            <a:srgbClr val="3D7E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61 126 219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0A7F095-92E0-4182-A945-79BE65F679AE}"/>
              </a:ext>
            </a:extLst>
          </p:cNvPr>
          <p:cNvSpPr/>
          <p:nvPr userDrawn="1"/>
        </p:nvSpPr>
        <p:spPr>
          <a:xfrm>
            <a:off x="-1636710" y="1860551"/>
            <a:ext cx="1103313" cy="457200"/>
          </a:xfrm>
          <a:prstGeom prst="rect">
            <a:avLst/>
          </a:prstGeom>
          <a:solidFill>
            <a:srgbClr val="0083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0 131 169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C9901DC-BE79-4087-8C0F-C973884D24CB}"/>
              </a:ext>
            </a:extLst>
          </p:cNvPr>
          <p:cNvSpPr/>
          <p:nvPr userDrawn="1"/>
        </p:nvSpPr>
        <p:spPr>
          <a:xfrm>
            <a:off x="-1636710" y="2403475"/>
            <a:ext cx="1103313" cy="457200"/>
          </a:xfrm>
          <a:prstGeom prst="rect">
            <a:avLst/>
          </a:prstGeom>
          <a:solidFill>
            <a:srgbClr val="002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0 43 69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B3FC0A6-8A8C-4B90-BE1A-89284090C8C6}"/>
              </a:ext>
            </a:extLst>
          </p:cNvPr>
          <p:cNvSpPr/>
          <p:nvPr userDrawn="1"/>
        </p:nvSpPr>
        <p:spPr>
          <a:xfrm>
            <a:off x="-1636710" y="2946401"/>
            <a:ext cx="1103313" cy="457200"/>
          </a:xfrm>
          <a:prstGeom prst="rect">
            <a:avLst/>
          </a:prstGeom>
          <a:solidFill>
            <a:srgbClr val="BEB9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190 185 166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EAD92A3-CC30-4E4D-BBC9-B1C9364A0E35}"/>
              </a:ext>
            </a:extLst>
          </p:cNvPr>
          <p:cNvSpPr/>
          <p:nvPr userDrawn="1"/>
        </p:nvSpPr>
        <p:spPr>
          <a:xfrm>
            <a:off x="-1636710" y="3489326"/>
            <a:ext cx="1103313" cy="457200"/>
          </a:xfrm>
          <a:prstGeom prst="rect">
            <a:avLst/>
          </a:prstGeom>
          <a:solidFill>
            <a:srgbClr val="34B2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52 178 51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9068320-D435-46FE-9C1F-445B15D9AAD6}"/>
              </a:ext>
            </a:extLst>
          </p:cNvPr>
          <p:cNvSpPr/>
          <p:nvPr userDrawn="1"/>
        </p:nvSpPr>
        <p:spPr>
          <a:xfrm>
            <a:off x="-1255711" y="4032250"/>
            <a:ext cx="1103313" cy="457200"/>
          </a:xfrm>
          <a:prstGeom prst="rect">
            <a:avLst/>
          </a:prstGeom>
          <a:solidFill>
            <a:srgbClr val="ED2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237 41 57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4123EFC-E317-4F35-9611-4C6ED53F0408}"/>
              </a:ext>
            </a:extLst>
          </p:cNvPr>
          <p:cNvSpPr/>
          <p:nvPr userDrawn="1"/>
        </p:nvSpPr>
        <p:spPr>
          <a:xfrm>
            <a:off x="-1255711" y="4575176"/>
            <a:ext cx="1103313" cy="457200"/>
          </a:xfrm>
          <a:prstGeom prst="rect">
            <a:avLst/>
          </a:prstGeom>
          <a:solidFill>
            <a:srgbClr val="5A24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90 36 90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E42F10D-76C9-4E6F-B735-D0800D8BAA8E}"/>
              </a:ext>
            </a:extLst>
          </p:cNvPr>
          <p:cNvSpPr/>
          <p:nvPr userDrawn="1"/>
        </p:nvSpPr>
        <p:spPr>
          <a:xfrm>
            <a:off x="-1255711" y="5118101"/>
            <a:ext cx="1103313" cy="4572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153 153 153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870B96C-7BAD-4D11-92D3-BB13AD382902}"/>
              </a:ext>
            </a:extLst>
          </p:cNvPr>
          <p:cNvSpPr/>
          <p:nvPr userDrawn="1"/>
        </p:nvSpPr>
        <p:spPr>
          <a:xfrm>
            <a:off x="-1255711" y="5661025"/>
            <a:ext cx="1103313" cy="457200"/>
          </a:xfrm>
          <a:prstGeom prst="rect">
            <a:avLst/>
          </a:prstGeom>
          <a:solidFill>
            <a:srgbClr val="FFA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255 161 0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0C6FBAF-0400-4D6C-83A4-200FF03B4B73}"/>
              </a:ext>
            </a:extLst>
          </p:cNvPr>
          <p:cNvCxnSpPr/>
          <p:nvPr userDrawn="1"/>
        </p:nvCxnSpPr>
        <p:spPr>
          <a:xfrm flipV="1">
            <a:off x="5530926" y="1211382"/>
            <a:ext cx="295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80A5BA80-4891-4423-AB5C-B056B74D022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882372" y="964589"/>
            <a:ext cx="2952000" cy="216000"/>
          </a:xfrm>
          <a:prstGeom prst="rect">
            <a:avLst/>
          </a:prstGeom>
        </p:spPr>
        <p:txBody>
          <a:bodyPr lIns="36000" tIns="0" rIns="0" bIns="36000" anchor="b"/>
          <a:lstStyle>
            <a:lvl1pPr>
              <a:defRPr lang="en-US" sz="975" b="1" dirty="0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>
              <a:spcBef>
                <a:spcPts val="0"/>
              </a:spcBef>
              <a:buNone/>
            </a:pPr>
            <a:r>
              <a:rPr lang="en-US"/>
              <a:t>Edit Master </a:t>
            </a:r>
          </a:p>
          <a:p>
            <a:pPr lvl="0" algn="ctr">
              <a:spcBef>
                <a:spcPts val="0"/>
              </a:spcBef>
              <a:buNone/>
            </a:pPr>
            <a:r>
              <a:rPr lang="en-US"/>
              <a:t>text styles</a:t>
            </a:r>
          </a:p>
        </p:txBody>
      </p:sp>
      <p:sp>
        <p:nvSpPr>
          <p:cNvPr id="22" name="Chart Placeholder 16">
            <a:extLst>
              <a:ext uri="{FF2B5EF4-FFF2-40B4-BE49-F238E27FC236}">
                <a16:creationId xmlns:a16="http://schemas.microsoft.com/office/drawing/2014/main" id="{96F442A7-E4A5-43BF-9394-6B2DE51F5B57}"/>
              </a:ext>
            </a:extLst>
          </p:cNvPr>
          <p:cNvSpPr>
            <a:spLocks noGrp="1"/>
          </p:cNvSpPr>
          <p:nvPr>
            <p:ph type="chart" sz="quarter" idx="32"/>
          </p:nvPr>
        </p:nvSpPr>
        <p:spPr>
          <a:xfrm>
            <a:off x="8883484" y="1253591"/>
            <a:ext cx="2952000" cy="2160000"/>
          </a:xfrm>
          <a:prstGeom prst="rect">
            <a:avLst/>
          </a:prstGeom>
        </p:spPr>
        <p:txBody>
          <a:bodyPr/>
          <a:lstStyle>
            <a:lvl1pPr>
              <a:defRPr sz="853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IN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D0E57F9-0F65-402D-BC33-ADE0605A0185}"/>
              </a:ext>
            </a:extLst>
          </p:cNvPr>
          <p:cNvCxnSpPr/>
          <p:nvPr userDrawn="1"/>
        </p:nvCxnSpPr>
        <p:spPr>
          <a:xfrm flipV="1">
            <a:off x="8882372" y="1211382"/>
            <a:ext cx="295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471D5867-DC6F-469B-9A2C-E797CC62A58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529813" y="3905941"/>
            <a:ext cx="2952000" cy="216000"/>
          </a:xfrm>
          <a:prstGeom prst="rect">
            <a:avLst/>
          </a:prstGeom>
        </p:spPr>
        <p:txBody>
          <a:bodyPr lIns="36000" tIns="0" rIns="0" bIns="36000" anchor="b"/>
          <a:lstStyle>
            <a:lvl1pPr>
              <a:defRPr lang="en-US" sz="975" b="1" dirty="0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>
              <a:spcBef>
                <a:spcPts val="0"/>
              </a:spcBef>
              <a:buNone/>
            </a:pPr>
            <a:r>
              <a:rPr lang="en-US"/>
              <a:t>Edit Master text </a:t>
            </a:r>
          </a:p>
          <a:p>
            <a:pPr lvl="0" algn="ctr">
              <a:spcBef>
                <a:spcPts val="0"/>
              </a:spcBef>
              <a:buNone/>
            </a:pPr>
            <a:r>
              <a:rPr lang="en-US"/>
              <a:t>styles</a:t>
            </a:r>
          </a:p>
        </p:txBody>
      </p:sp>
      <p:sp>
        <p:nvSpPr>
          <p:cNvPr id="32" name="Chart Placeholder 16">
            <a:extLst>
              <a:ext uri="{FF2B5EF4-FFF2-40B4-BE49-F238E27FC236}">
                <a16:creationId xmlns:a16="http://schemas.microsoft.com/office/drawing/2014/main" id="{27597380-8EB2-4F66-95F6-72D966FF01E1}"/>
              </a:ext>
            </a:extLst>
          </p:cNvPr>
          <p:cNvSpPr>
            <a:spLocks noGrp="1"/>
          </p:cNvSpPr>
          <p:nvPr>
            <p:ph type="chart" sz="quarter" idx="34"/>
          </p:nvPr>
        </p:nvSpPr>
        <p:spPr>
          <a:xfrm>
            <a:off x="5529813" y="4194943"/>
            <a:ext cx="2952000" cy="2160000"/>
          </a:xfrm>
          <a:prstGeom prst="rect">
            <a:avLst/>
          </a:prstGeom>
        </p:spPr>
        <p:txBody>
          <a:bodyPr/>
          <a:lstStyle>
            <a:lvl1pPr>
              <a:defRPr sz="853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IN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A8DA831-86F6-4F61-BF60-9A4131CA16FE}"/>
              </a:ext>
            </a:extLst>
          </p:cNvPr>
          <p:cNvCxnSpPr/>
          <p:nvPr userDrawn="1"/>
        </p:nvCxnSpPr>
        <p:spPr>
          <a:xfrm flipV="1">
            <a:off x="5529813" y="4152734"/>
            <a:ext cx="295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C31690F6-13EB-47C7-B217-CB59CD85F12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881260" y="3905941"/>
            <a:ext cx="2952000" cy="216000"/>
          </a:xfrm>
          <a:prstGeom prst="rect">
            <a:avLst/>
          </a:prstGeom>
        </p:spPr>
        <p:txBody>
          <a:bodyPr lIns="36000" tIns="0" rIns="0" bIns="36000" anchor="b"/>
          <a:lstStyle>
            <a:lvl1pPr>
              <a:defRPr lang="en-US" sz="975" b="1" dirty="0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>
              <a:spcBef>
                <a:spcPts val="0"/>
              </a:spcBef>
              <a:buNone/>
            </a:pPr>
            <a:r>
              <a:rPr lang="en-US"/>
              <a:t>Edit Master </a:t>
            </a:r>
          </a:p>
          <a:p>
            <a:pPr lvl="0" algn="ctr">
              <a:spcBef>
                <a:spcPts val="0"/>
              </a:spcBef>
              <a:buNone/>
            </a:pPr>
            <a:r>
              <a:rPr lang="en-US"/>
              <a:t>text styles</a:t>
            </a:r>
          </a:p>
        </p:txBody>
      </p:sp>
      <p:sp>
        <p:nvSpPr>
          <p:cNvPr id="35" name="Chart Placeholder 16">
            <a:extLst>
              <a:ext uri="{FF2B5EF4-FFF2-40B4-BE49-F238E27FC236}">
                <a16:creationId xmlns:a16="http://schemas.microsoft.com/office/drawing/2014/main" id="{734BF7C6-93FA-4C61-8648-98BE3952F491}"/>
              </a:ext>
            </a:extLst>
          </p:cNvPr>
          <p:cNvSpPr>
            <a:spLocks noGrp="1"/>
          </p:cNvSpPr>
          <p:nvPr>
            <p:ph type="chart" sz="quarter" idx="36"/>
          </p:nvPr>
        </p:nvSpPr>
        <p:spPr>
          <a:xfrm>
            <a:off x="8882372" y="4194943"/>
            <a:ext cx="2952000" cy="2160000"/>
          </a:xfrm>
          <a:prstGeom prst="rect">
            <a:avLst/>
          </a:prstGeom>
        </p:spPr>
        <p:txBody>
          <a:bodyPr/>
          <a:lstStyle>
            <a:lvl1pPr>
              <a:defRPr sz="853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IN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007DA00-8742-4D43-BA19-192DE3A5B4FF}"/>
              </a:ext>
            </a:extLst>
          </p:cNvPr>
          <p:cNvCxnSpPr/>
          <p:nvPr userDrawn="1"/>
        </p:nvCxnSpPr>
        <p:spPr>
          <a:xfrm flipV="1">
            <a:off x="8881260" y="4152734"/>
            <a:ext cx="295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1B4D2CB2-A6C9-4164-9992-8407C242A664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24000" y="6365508"/>
            <a:ext cx="10224000" cy="48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3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9977" indent="0">
              <a:buNone/>
              <a:defRPr/>
            </a:lvl2pPr>
            <a:lvl3pPr marL="259953" indent="0">
              <a:buNone/>
              <a:defRPr/>
            </a:lvl3pPr>
            <a:lvl4pPr marL="389929" indent="0">
              <a:buNone/>
              <a:defRPr/>
            </a:lvl4pPr>
            <a:lvl5pPr marL="51990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  <a:endParaRPr lang="en-IN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0357B871-BA5A-4588-897A-940BA7C3CD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4000" y="356019"/>
            <a:ext cx="11160000" cy="225126"/>
          </a:xfrm>
          <a:prstGeom prst="rect">
            <a:avLst/>
          </a:prstGeom>
        </p:spPr>
        <p:txBody>
          <a:bodyPr wrap="square" lIns="0" tIns="0" rIns="36000" bIns="0" anchor="b">
            <a:spAutoFit/>
          </a:bodyPr>
          <a:lstStyle>
            <a:lvl1pPr>
              <a:defRPr lang="en-IN" sz="1463" b="1" baseline="0" dirty="0"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Edit Master text styles</a:t>
            </a:r>
            <a:endParaRPr lang="en-IN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1D11D974-C4A7-48DF-89C1-C6BC96269A2C}"/>
              </a:ext>
            </a:extLst>
          </p:cNvPr>
          <p:cNvCxnSpPr/>
          <p:nvPr userDrawn="1"/>
        </p:nvCxnSpPr>
        <p:spPr>
          <a:xfrm>
            <a:off x="324000" y="614754"/>
            <a:ext cx="11448000" cy="0"/>
          </a:xfrm>
          <a:prstGeom prst="line">
            <a:avLst/>
          </a:prstGeom>
          <a:solidFill>
            <a:srgbClr val="FFFFFF"/>
          </a:solidFill>
          <a:ln w="38100">
            <a:gradFill flip="none" rotWithShape="1">
              <a:gsLst>
                <a:gs pos="0">
                  <a:srgbClr val="3D7EDB"/>
                </a:gs>
                <a:gs pos="30000">
                  <a:srgbClr val="34B233"/>
                </a:gs>
                <a:gs pos="50000">
                  <a:srgbClr val="ED2939"/>
                </a:gs>
                <a:gs pos="69000">
                  <a:srgbClr val="FFA100"/>
                </a:gs>
                <a:gs pos="85000">
                  <a:srgbClr val="5A245A">
                    <a:alpha val="95000"/>
                  </a:srgb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hart Placeholder 16">
            <a:extLst>
              <a:ext uri="{FF2B5EF4-FFF2-40B4-BE49-F238E27FC236}">
                <a16:creationId xmlns:a16="http://schemas.microsoft.com/office/drawing/2014/main" id="{1169FECB-028C-4A52-8097-E68EA50FDFB6}"/>
              </a:ext>
            </a:extLst>
          </p:cNvPr>
          <p:cNvSpPr>
            <a:spLocks noGrp="1"/>
          </p:cNvSpPr>
          <p:nvPr>
            <p:ph type="chart" sz="quarter" idx="43"/>
          </p:nvPr>
        </p:nvSpPr>
        <p:spPr>
          <a:xfrm>
            <a:off x="5529813" y="1256413"/>
            <a:ext cx="2952000" cy="2160000"/>
          </a:xfrm>
          <a:prstGeom prst="rect">
            <a:avLst/>
          </a:prstGeom>
        </p:spPr>
        <p:txBody>
          <a:bodyPr/>
          <a:lstStyle>
            <a:lvl1pPr>
              <a:defRPr sz="853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0487705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E984BCBC-23B5-47D2-9706-E91BE953F4F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32513" y="472120"/>
            <a:ext cx="2700000" cy="216000"/>
          </a:xfrm>
          <a:prstGeom prst="rect">
            <a:avLst/>
          </a:prstGeom>
        </p:spPr>
        <p:txBody>
          <a:bodyPr wrap="none" lIns="36000" tIns="0" rIns="0" bIns="0" anchor="b">
            <a:noAutofit/>
          </a:bodyPr>
          <a:lstStyle>
            <a:lvl1pPr>
              <a:defRPr lang="en-US" sz="975" b="1" dirty="0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6224028-0253-43C7-B90D-2968ED035D09}"/>
              </a:ext>
            </a:extLst>
          </p:cNvPr>
          <p:cNvSpPr/>
          <p:nvPr userDrawn="1"/>
        </p:nvSpPr>
        <p:spPr>
          <a:xfrm>
            <a:off x="-1636710" y="1317626"/>
            <a:ext cx="1103313" cy="457200"/>
          </a:xfrm>
          <a:prstGeom prst="rect">
            <a:avLst/>
          </a:prstGeom>
          <a:solidFill>
            <a:srgbClr val="3D7E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61 126 219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0A7F095-92E0-4182-A945-79BE65F679AE}"/>
              </a:ext>
            </a:extLst>
          </p:cNvPr>
          <p:cNvSpPr/>
          <p:nvPr userDrawn="1"/>
        </p:nvSpPr>
        <p:spPr>
          <a:xfrm>
            <a:off x="-1636710" y="1860551"/>
            <a:ext cx="1103313" cy="457200"/>
          </a:xfrm>
          <a:prstGeom prst="rect">
            <a:avLst/>
          </a:prstGeom>
          <a:solidFill>
            <a:srgbClr val="0083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0 131 169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C9901DC-BE79-4087-8C0F-C973884D24CB}"/>
              </a:ext>
            </a:extLst>
          </p:cNvPr>
          <p:cNvSpPr/>
          <p:nvPr userDrawn="1"/>
        </p:nvSpPr>
        <p:spPr>
          <a:xfrm>
            <a:off x="-1636710" y="2403475"/>
            <a:ext cx="1103313" cy="457200"/>
          </a:xfrm>
          <a:prstGeom prst="rect">
            <a:avLst/>
          </a:prstGeom>
          <a:solidFill>
            <a:srgbClr val="002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0 43 69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B3FC0A6-8A8C-4B90-BE1A-89284090C8C6}"/>
              </a:ext>
            </a:extLst>
          </p:cNvPr>
          <p:cNvSpPr/>
          <p:nvPr userDrawn="1"/>
        </p:nvSpPr>
        <p:spPr>
          <a:xfrm>
            <a:off x="-1636710" y="2946401"/>
            <a:ext cx="1103313" cy="457200"/>
          </a:xfrm>
          <a:prstGeom prst="rect">
            <a:avLst/>
          </a:prstGeom>
          <a:solidFill>
            <a:srgbClr val="BEB9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190 185 166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EAD92A3-CC30-4E4D-BBC9-B1C9364A0E35}"/>
              </a:ext>
            </a:extLst>
          </p:cNvPr>
          <p:cNvSpPr/>
          <p:nvPr userDrawn="1"/>
        </p:nvSpPr>
        <p:spPr>
          <a:xfrm>
            <a:off x="-1636710" y="3489326"/>
            <a:ext cx="1103313" cy="457200"/>
          </a:xfrm>
          <a:prstGeom prst="rect">
            <a:avLst/>
          </a:prstGeom>
          <a:solidFill>
            <a:srgbClr val="34B2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52 178 51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9068320-D435-46FE-9C1F-445B15D9AAD6}"/>
              </a:ext>
            </a:extLst>
          </p:cNvPr>
          <p:cNvSpPr/>
          <p:nvPr userDrawn="1"/>
        </p:nvSpPr>
        <p:spPr>
          <a:xfrm>
            <a:off x="-1255711" y="4032250"/>
            <a:ext cx="1103313" cy="457200"/>
          </a:xfrm>
          <a:prstGeom prst="rect">
            <a:avLst/>
          </a:prstGeom>
          <a:solidFill>
            <a:srgbClr val="ED2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237 41 57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4123EFC-E317-4F35-9611-4C6ED53F0408}"/>
              </a:ext>
            </a:extLst>
          </p:cNvPr>
          <p:cNvSpPr/>
          <p:nvPr userDrawn="1"/>
        </p:nvSpPr>
        <p:spPr>
          <a:xfrm>
            <a:off x="-1255711" y="4575176"/>
            <a:ext cx="1103313" cy="457200"/>
          </a:xfrm>
          <a:prstGeom prst="rect">
            <a:avLst/>
          </a:prstGeom>
          <a:solidFill>
            <a:srgbClr val="5A24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90 36 90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E42F10D-76C9-4E6F-B735-D0800D8BAA8E}"/>
              </a:ext>
            </a:extLst>
          </p:cNvPr>
          <p:cNvSpPr/>
          <p:nvPr userDrawn="1"/>
        </p:nvSpPr>
        <p:spPr>
          <a:xfrm>
            <a:off x="-1255711" y="5118101"/>
            <a:ext cx="1103313" cy="4572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153 153 153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870B96C-7BAD-4D11-92D3-BB13AD382902}"/>
              </a:ext>
            </a:extLst>
          </p:cNvPr>
          <p:cNvSpPr/>
          <p:nvPr userDrawn="1"/>
        </p:nvSpPr>
        <p:spPr>
          <a:xfrm>
            <a:off x="-1255711" y="5661025"/>
            <a:ext cx="1103313" cy="457200"/>
          </a:xfrm>
          <a:prstGeom prst="rect">
            <a:avLst/>
          </a:prstGeom>
          <a:solidFill>
            <a:srgbClr val="FFA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255 161 0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0C6FBAF-0400-4D6C-83A4-200FF03B4B73}"/>
              </a:ext>
            </a:extLst>
          </p:cNvPr>
          <p:cNvCxnSpPr/>
          <p:nvPr userDrawn="1"/>
        </p:nvCxnSpPr>
        <p:spPr>
          <a:xfrm flipV="1">
            <a:off x="6332513" y="697893"/>
            <a:ext cx="27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80A5BA80-4891-4423-AB5C-B056B74D022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281634" y="472120"/>
            <a:ext cx="2700000" cy="216000"/>
          </a:xfrm>
          <a:prstGeom prst="rect">
            <a:avLst/>
          </a:prstGeom>
        </p:spPr>
        <p:txBody>
          <a:bodyPr wrap="none" lIns="36000" tIns="0" rIns="0" bIns="0" anchor="b">
            <a:noAutofit/>
          </a:bodyPr>
          <a:lstStyle>
            <a:lvl1pPr>
              <a:defRPr lang="en-US" sz="975" b="1" dirty="0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22" name="Chart Placeholder 16">
            <a:extLst>
              <a:ext uri="{FF2B5EF4-FFF2-40B4-BE49-F238E27FC236}">
                <a16:creationId xmlns:a16="http://schemas.microsoft.com/office/drawing/2014/main" id="{96F442A7-E4A5-43BF-9394-6B2DE51F5B57}"/>
              </a:ext>
            </a:extLst>
          </p:cNvPr>
          <p:cNvSpPr>
            <a:spLocks noGrp="1"/>
          </p:cNvSpPr>
          <p:nvPr>
            <p:ph type="chart" sz="quarter" idx="32"/>
          </p:nvPr>
        </p:nvSpPr>
        <p:spPr>
          <a:xfrm>
            <a:off x="9282747" y="740102"/>
            <a:ext cx="2700000" cy="1440000"/>
          </a:xfrm>
          <a:prstGeom prst="rect">
            <a:avLst/>
          </a:prstGeom>
        </p:spPr>
        <p:txBody>
          <a:bodyPr/>
          <a:lstStyle>
            <a:lvl1pPr>
              <a:defRPr sz="853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IN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D0E57F9-0F65-402D-BC33-ADE0605A0185}"/>
              </a:ext>
            </a:extLst>
          </p:cNvPr>
          <p:cNvCxnSpPr/>
          <p:nvPr userDrawn="1"/>
        </p:nvCxnSpPr>
        <p:spPr>
          <a:xfrm flipV="1">
            <a:off x="9281634" y="697893"/>
            <a:ext cx="27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84E02A5E-E5DD-47E9-93E1-EDC6CE1315C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332513" y="2559402"/>
            <a:ext cx="2700000" cy="216000"/>
          </a:xfrm>
          <a:prstGeom prst="rect">
            <a:avLst/>
          </a:prstGeom>
        </p:spPr>
        <p:txBody>
          <a:bodyPr wrap="none" lIns="36000" tIns="0" rIns="0" bIns="0" anchor="b">
            <a:noAutofit/>
          </a:bodyPr>
          <a:lstStyle>
            <a:lvl1pPr>
              <a:defRPr lang="en-US" sz="975" b="1" dirty="0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32" name="Chart Placeholder 16">
            <a:extLst>
              <a:ext uri="{FF2B5EF4-FFF2-40B4-BE49-F238E27FC236}">
                <a16:creationId xmlns:a16="http://schemas.microsoft.com/office/drawing/2014/main" id="{297E7CF3-52C7-4D5D-8997-6F0F1E15DAAE}"/>
              </a:ext>
            </a:extLst>
          </p:cNvPr>
          <p:cNvSpPr>
            <a:spLocks noGrp="1"/>
          </p:cNvSpPr>
          <p:nvPr>
            <p:ph type="chart" sz="quarter" idx="34"/>
          </p:nvPr>
        </p:nvSpPr>
        <p:spPr>
          <a:xfrm>
            <a:off x="6332513" y="2827384"/>
            <a:ext cx="2700000" cy="1440000"/>
          </a:xfrm>
          <a:prstGeom prst="rect">
            <a:avLst/>
          </a:prstGeom>
        </p:spPr>
        <p:txBody>
          <a:bodyPr/>
          <a:lstStyle>
            <a:lvl1pPr>
              <a:defRPr sz="853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IN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9731E77-037B-4592-9E87-9C9369BE4A09}"/>
              </a:ext>
            </a:extLst>
          </p:cNvPr>
          <p:cNvCxnSpPr/>
          <p:nvPr userDrawn="1"/>
        </p:nvCxnSpPr>
        <p:spPr>
          <a:xfrm flipV="1">
            <a:off x="6332513" y="2785175"/>
            <a:ext cx="27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8A914926-36DD-4D3A-9559-44610869AD32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281634" y="2559402"/>
            <a:ext cx="2700000" cy="216000"/>
          </a:xfrm>
          <a:prstGeom prst="rect">
            <a:avLst/>
          </a:prstGeom>
        </p:spPr>
        <p:txBody>
          <a:bodyPr wrap="none" lIns="36000" tIns="0" rIns="0" bIns="0" anchor="b">
            <a:noAutofit/>
          </a:bodyPr>
          <a:lstStyle>
            <a:lvl1pPr>
              <a:defRPr lang="en-US" sz="975" b="1" dirty="0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35" name="Chart Placeholder 16">
            <a:extLst>
              <a:ext uri="{FF2B5EF4-FFF2-40B4-BE49-F238E27FC236}">
                <a16:creationId xmlns:a16="http://schemas.microsoft.com/office/drawing/2014/main" id="{0B8FFBCF-79E4-4C27-B457-860214140DF5}"/>
              </a:ext>
            </a:extLst>
          </p:cNvPr>
          <p:cNvSpPr>
            <a:spLocks noGrp="1"/>
          </p:cNvSpPr>
          <p:nvPr>
            <p:ph type="chart" sz="quarter" idx="36"/>
          </p:nvPr>
        </p:nvSpPr>
        <p:spPr>
          <a:xfrm>
            <a:off x="9282747" y="2827384"/>
            <a:ext cx="2700000" cy="1440000"/>
          </a:xfrm>
          <a:prstGeom prst="rect">
            <a:avLst/>
          </a:prstGeom>
        </p:spPr>
        <p:txBody>
          <a:bodyPr/>
          <a:lstStyle>
            <a:lvl1pPr>
              <a:defRPr sz="853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IN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214DBF9-7D48-4B8F-9BBE-D38A16417E36}"/>
              </a:ext>
            </a:extLst>
          </p:cNvPr>
          <p:cNvCxnSpPr/>
          <p:nvPr userDrawn="1"/>
        </p:nvCxnSpPr>
        <p:spPr>
          <a:xfrm flipV="1">
            <a:off x="9281634" y="2785175"/>
            <a:ext cx="27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C5DE27BD-F1CD-4F9D-9014-0B93FEF368A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331401" y="4648968"/>
            <a:ext cx="2700000" cy="216000"/>
          </a:xfrm>
          <a:prstGeom prst="rect">
            <a:avLst/>
          </a:prstGeom>
        </p:spPr>
        <p:txBody>
          <a:bodyPr wrap="none" lIns="36000" tIns="0" rIns="0" bIns="0" anchor="b">
            <a:noAutofit/>
          </a:bodyPr>
          <a:lstStyle>
            <a:lvl1pPr>
              <a:defRPr lang="en-US" sz="975" b="1" dirty="0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38" name="Chart Placeholder 16">
            <a:extLst>
              <a:ext uri="{FF2B5EF4-FFF2-40B4-BE49-F238E27FC236}">
                <a16:creationId xmlns:a16="http://schemas.microsoft.com/office/drawing/2014/main" id="{002F29B4-ACBE-4F3C-BF4D-A119E2360072}"/>
              </a:ext>
            </a:extLst>
          </p:cNvPr>
          <p:cNvSpPr>
            <a:spLocks noGrp="1"/>
          </p:cNvSpPr>
          <p:nvPr>
            <p:ph type="chart" sz="quarter" idx="38"/>
          </p:nvPr>
        </p:nvSpPr>
        <p:spPr>
          <a:xfrm>
            <a:off x="6331401" y="4916950"/>
            <a:ext cx="2700000" cy="1440000"/>
          </a:xfrm>
          <a:prstGeom prst="rect">
            <a:avLst/>
          </a:prstGeom>
        </p:spPr>
        <p:txBody>
          <a:bodyPr/>
          <a:lstStyle>
            <a:lvl1pPr>
              <a:defRPr sz="853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IN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CE7783C-D80B-455E-AEF9-A11B65B8C8C3}"/>
              </a:ext>
            </a:extLst>
          </p:cNvPr>
          <p:cNvCxnSpPr/>
          <p:nvPr userDrawn="1"/>
        </p:nvCxnSpPr>
        <p:spPr>
          <a:xfrm flipV="1">
            <a:off x="6331401" y="4874741"/>
            <a:ext cx="27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37E66BC3-7FB7-4BBA-A7D5-148072B0013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280523" y="4648968"/>
            <a:ext cx="2700000" cy="216000"/>
          </a:xfrm>
          <a:prstGeom prst="rect">
            <a:avLst/>
          </a:prstGeom>
        </p:spPr>
        <p:txBody>
          <a:bodyPr wrap="none" lIns="36000" tIns="0" rIns="0" bIns="0" anchor="b">
            <a:noAutofit/>
          </a:bodyPr>
          <a:lstStyle>
            <a:lvl1pPr>
              <a:defRPr lang="en-US" sz="975" b="1" dirty="0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45" name="Chart Placeholder 16">
            <a:extLst>
              <a:ext uri="{FF2B5EF4-FFF2-40B4-BE49-F238E27FC236}">
                <a16:creationId xmlns:a16="http://schemas.microsoft.com/office/drawing/2014/main" id="{0FBF4054-0759-478E-900B-1ABA8473CAC1}"/>
              </a:ext>
            </a:extLst>
          </p:cNvPr>
          <p:cNvSpPr>
            <a:spLocks noGrp="1"/>
          </p:cNvSpPr>
          <p:nvPr>
            <p:ph type="chart" sz="quarter" idx="40"/>
          </p:nvPr>
        </p:nvSpPr>
        <p:spPr>
          <a:xfrm>
            <a:off x="9281634" y="4916950"/>
            <a:ext cx="2700000" cy="1440000"/>
          </a:xfrm>
          <a:prstGeom prst="rect">
            <a:avLst/>
          </a:prstGeom>
        </p:spPr>
        <p:txBody>
          <a:bodyPr/>
          <a:lstStyle>
            <a:lvl1pPr>
              <a:defRPr sz="853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IN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2FAFA9D0-D508-43E8-9B0F-C9CCB3086CF7}"/>
              </a:ext>
            </a:extLst>
          </p:cNvPr>
          <p:cNvCxnSpPr/>
          <p:nvPr userDrawn="1"/>
        </p:nvCxnSpPr>
        <p:spPr>
          <a:xfrm flipV="1">
            <a:off x="9280523" y="4874741"/>
            <a:ext cx="27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42407D-F29F-4138-BCD0-A812F791A8D3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24000" y="6365508"/>
            <a:ext cx="10224000" cy="48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3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9977" indent="0">
              <a:buNone/>
              <a:defRPr/>
            </a:lvl2pPr>
            <a:lvl3pPr marL="259953" indent="0">
              <a:buNone/>
              <a:defRPr/>
            </a:lvl3pPr>
            <a:lvl4pPr marL="389929" indent="0">
              <a:buNone/>
              <a:defRPr/>
            </a:lvl4pPr>
            <a:lvl5pPr marL="51990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  <a:endParaRPr lang="en-IN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0EBD000-C2E2-4EF3-AFE5-BA5869D49706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6332400" y="741600"/>
            <a:ext cx="2700000" cy="1440000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1440419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847" y="1590"/>
          <a:ext cx="1849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47" y="1590"/>
                        <a:ext cx="1849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84754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26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Chart Placeholder 16"/>
          <p:cNvSpPr>
            <a:spLocks noGrp="1"/>
          </p:cNvSpPr>
          <p:nvPr>
            <p:ph type="chart" sz="quarter" idx="24"/>
          </p:nvPr>
        </p:nvSpPr>
        <p:spPr>
          <a:xfrm>
            <a:off x="2652412" y="3582826"/>
            <a:ext cx="2912245" cy="2499335"/>
          </a:xfrm>
          <a:prstGeom prst="rect">
            <a:avLst/>
          </a:prstGeom>
        </p:spPr>
        <p:txBody>
          <a:bodyPr/>
          <a:lstStyle>
            <a:lvl1pPr>
              <a:defRPr sz="894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IN"/>
          </a:p>
        </p:txBody>
      </p:sp>
      <p:sp>
        <p:nvSpPr>
          <p:cNvPr id="24" name="Chart Placeholder 16"/>
          <p:cNvSpPr>
            <a:spLocks noGrp="1"/>
          </p:cNvSpPr>
          <p:nvPr>
            <p:ph type="chart" sz="quarter" idx="28"/>
          </p:nvPr>
        </p:nvSpPr>
        <p:spPr>
          <a:xfrm>
            <a:off x="5872145" y="3582824"/>
            <a:ext cx="2912245" cy="2520000"/>
          </a:xfrm>
          <a:prstGeom prst="rect">
            <a:avLst/>
          </a:prstGeom>
        </p:spPr>
        <p:txBody>
          <a:bodyPr/>
          <a:lstStyle>
            <a:lvl1pPr>
              <a:defRPr sz="894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IN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35"/>
          </p:nvPr>
        </p:nvSpPr>
        <p:spPr>
          <a:xfrm>
            <a:off x="2652410" y="3268008"/>
            <a:ext cx="2916937" cy="289469"/>
          </a:xfrm>
          <a:prstGeom prst="rect">
            <a:avLst/>
          </a:prstGeom>
        </p:spPr>
        <p:txBody>
          <a:bodyPr lIns="36000" tIns="36000" rIns="36000" bIns="36000" anchor="b"/>
          <a:lstStyle>
            <a:lvl1pPr algn="l">
              <a:defRPr lang="en-US" sz="975" b="1" dirty="0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8165" lvl="0" indent="-288165" algn="ctr">
              <a:buNone/>
            </a:pPr>
            <a:r>
              <a:rPr lang="en-US"/>
              <a:t>Edit Master text styles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 flipV="1">
            <a:off x="2652410" y="3554955"/>
            <a:ext cx="2916937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9"/>
          <p:cNvSpPr>
            <a:spLocks noGrp="1"/>
          </p:cNvSpPr>
          <p:nvPr>
            <p:ph type="body" sz="quarter" idx="36"/>
          </p:nvPr>
        </p:nvSpPr>
        <p:spPr>
          <a:xfrm>
            <a:off x="5871203" y="3265488"/>
            <a:ext cx="2916937" cy="289469"/>
          </a:xfrm>
          <a:prstGeom prst="rect">
            <a:avLst/>
          </a:prstGeom>
        </p:spPr>
        <p:txBody>
          <a:bodyPr lIns="36000" tIns="36000" rIns="36000" bIns="36000" anchor="b"/>
          <a:lstStyle>
            <a:lvl1pPr marL="0" indent="0" algn="l">
              <a:buNone/>
              <a:defRPr lang="en-US" sz="975" b="1" smtClean="0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IN"/>
            </a:lvl5pPr>
          </a:lstStyle>
          <a:p>
            <a:pPr marL="288165" lvl="0" indent="-288165" algn="ctr"/>
            <a:r>
              <a:rPr lang="en-US"/>
              <a:t>Edit Master text styles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 flipV="1">
            <a:off x="5871203" y="3552435"/>
            <a:ext cx="2916937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85125859-253D-49E7-8FF7-F954DD3494FE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24000" y="6365508"/>
            <a:ext cx="10224000" cy="48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3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9977" indent="0">
              <a:buNone/>
              <a:defRPr/>
            </a:lvl2pPr>
            <a:lvl3pPr marL="259953" indent="0">
              <a:buNone/>
              <a:defRPr/>
            </a:lvl3pPr>
            <a:lvl4pPr marL="389929" indent="0">
              <a:buNone/>
              <a:defRPr/>
            </a:lvl4pPr>
            <a:lvl5pPr marL="51990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  <a:endParaRPr lang="en-IN"/>
          </a:p>
        </p:txBody>
      </p:sp>
      <p:sp>
        <p:nvSpPr>
          <p:cNvPr id="12" name="Chart Placeholder 16">
            <a:extLst>
              <a:ext uri="{FF2B5EF4-FFF2-40B4-BE49-F238E27FC236}">
                <a16:creationId xmlns:a16="http://schemas.microsoft.com/office/drawing/2014/main" id="{726CCEE0-C975-4B20-864D-6DDD461B5522}"/>
              </a:ext>
            </a:extLst>
          </p:cNvPr>
          <p:cNvSpPr>
            <a:spLocks noGrp="1"/>
          </p:cNvSpPr>
          <p:nvPr>
            <p:ph type="chart" sz="quarter" idx="43"/>
          </p:nvPr>
        </p:nvSpPr>
        <p:spPr>
          <a:xfrm>
            <a:off x="9091879" y="3572670"/>
            <a:ext cx="2912245" cy="2520000"/>
          </a:xfrm>
          <a:prstGeom prst="rect">
            <a:avLst/>
          </a:prstGeom>
        </p:spPr>
        <p:txBody>
          <a:bodyPr/>
          <a:lstStyle>
            <a:lvl1pPr>
              <a:defRPr sz="894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IN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7B5E3C45-6EAD-4512-B048-CBDEE4F72A8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9089997" y="3268008"/>
            <a:ext cx="2916937" cy="289469"/>
          </a:xfrm>
          <a:prstGeom prst="rect">
            <a:avLst/>
          </a:prstGeom>
        </p:spPr>
        <p:txBody>
          <a:bodyPr lIns="36000" tIns="36000" rIns="36000" bIns="36000" anchor="b"/>
          <a:lstStyle>
            <a:lvl1pPr marL="0" indent="0" algn="l">
              <a:buNone/>
              <a:defRPr lang="en-US" sz="975" b="1" smtClean="0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IN"/>
            </a:lvl5pPr>
          </a:lstStyle>
          <a:p>
            <a:pPr marL="288165" lvl="0" indent="-288165" algn="ctr"/>
            <a:r>
              <a:rPr lang="en-US"/>
              <a:t>Edit Master text styles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16FBAA5-41EE-4593-9FA3-FC0DE8B186BF}"/>
              </a:ext>
            </a:extLst>
          </p:cNvPr>
          <p:cNvCxnSpPr/>
          <p:nvPr userDrawn="1"/>
        </p:nvCxnSpPr>
        <p:spPr>
          <a:xfrm flipV="1">
            <a:off x="9089997" y="3554955"/>
            <a:ext cx="2916937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105940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52D09C6D-C6BE-489E-8409-698B022CFF3D}"/>
              </a:ext>
            </a:extLst>
          </p:cNvPr>
          <p:cNvSpPr/>
          <p:nvPr userDrawn="1"/>
        </p:nvSpPr>
        <p:spPr>
          <a:xfrm>
            <a:off x="-1636710" y="1317626"/>
            <a:ext cx="1103313" cy="457200"/>
          </a:xfrm>
          <a:prstGeom prst="rect">
            <a:avLst/>
          </a:prstGeom>
          <a:solidFill>
            <a:srgbClr val="3D7E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61 126 219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E51C120-E3AD-4301-82CF-27779B747380}"/>
              </a:ext>
            </a:extLst>
          </p:cNvPr>
          <p:cNvSpPr/>
          <p:nvPr userDrawn="1"/>
        </p:nvSpPr>
        <p:spPr>
          <a:xfrm>
            <a:off x="-1636710" y="1860551"/>
            <a:ext cx="1103313" cy="457200"/>
          </a:xfrm>
          <a:prstGeom prst="rect">
            <a:avLst/>
          </a:prstGeom>
          <a:solidFill>
            <a:srgbClr val="0083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0 131 169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A3AF3C5-1A04-4AA2-A0B2-D425D806D059}"/>
              </a:ext>
            </a:extLst>
          </p:cNvPr>
          <p:cNvSpPr/>
          <p:nvPr userDrawn="1"/>
        </p:nvSpPr>
        <p:spPr>
          <a:xfrm>
            <a:off x="-1636710" y="2403475"/>
            <a:ext cx="1103313" cy="457200"/>
          </a:xfrm>
          <a:prstGeom prst="rect">
            <a:avLst/>
          </a:prstGeom>
          <a:solidFill>
            <a:srgbClr val="002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0 43 69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B4AC3A2-4E65-4E21-94AB-064745171BFF}"/>
              </a:ext>
            </a:extLst>
          </p:cNvPr>
          <p:cNvSpPr/>
          <p:nvPr userDrawn="1"/>
        </p:nvSpPr>
        <p:spPr>
          <a:xfrm>
            <a:off x="-1636710" y="2946401"/>
            <a:ext cx="1103313" cy="457200"/>
          </a:xfrm>
          <a:prstGeom prst="rect">
            <a:avLst/>
          </a:prstGeom>
          <a:solidFill>
            <a:srgbClr val="BEB9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190 185 166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4D09ABC-9EB4-4213-9F8B-D2EF1483F3C7}"/>
              </a:ext>
            </a:extLst>
          </p:cNvPr>
          <p:cNvSpPr/>
          <p:nvPr userDrawn="1"/>
        </p:nvSpPr>
        <p:spPr>
          <a:xfrm>
            <a:off x="-1636710" y="3489326"/>
            <a:ext cx="1103313" cy="457200"/>
          </a:xfrm>
          <a:prstGeom prst="rect">
            <a:avLst/>
          </a:prstGeom>
          <a:solidFill>
            <a:srgbClr val="34B2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52 178 51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32BDC8A-FF78-4635-A570-1F8157AAC80F}"/>
              </a:ext>
            </a:extLst>
          </p:cNvPr>
          <p:cNvSpPr/>
          <p:nvPr userDrawn="1"/>
        </p:nvSpPr>
        <p:spPr>
          <a:xfrm>
            <a:off x="-1255711" y="4032250"/>
            <a:ext cx="1103313" cy="457200"/>
          </a:xfrm>
          <a:prstGeom prst="rect">
            <a:avLst/>
          </a:prstGeom>
          <a:solidFill>
            <a:srgbClr val="ED2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237 41 57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5D00ADD-E1DD-430F-8C96-F5BDEEEDB68F}"/>
              </a:ext>
            </a:extLst>
          </p:cNvPr>
          <p:cNvSpPr/>
          <p:nvPr userDrawn="1"/>
        </p:nvSpPr>
        <p:spPr>
          <a:xfrm>
            <a:off x="-1255711" y="4575176"/>
            <a:ext cx="1103313" cy="457200"/>
          </a:xfrm>
          <a:prstGeom prst="rect">
            <a:avLst/>
          </a:prstGeom>
          <a:solidFill>
            <a:srgbClr val="5A24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90 36 90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559A626-DEE6-4491-BD0F-0E2377BB992E}"/>
              </a:ext>
            </a:extLst>
          </p:cNvPr>
          <p:cNvSpPr/>
          <p:nvPr userDrawn="1"/>
        </p:nvSpPr>
        <p:spPr>
          <a:xfrm>
            <a:off x="-1255711" y="5118101"/>
            <a:ext cx="1103313" cy="4572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153 153 153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0313B41-2229-4EE2-AD88-390D6D684D31}"/>
              </a:ext>
            </a:extLst>
          </p:cNvPr>
          <p:cNvSpPr/>
          <p:nvPr userDrawn="1"/>
        </p:nvSpPr>
        <p:spPr>
          <a:xfrm>
            <a:off x="-1255711" y="5661025"/>
            <a:ext cx="1103313" cy="457200"/>
          </a:xfrm>
          <a:prstGeom prst="rect">
            <a:avLst/>
          </a:prstGeom>
          <a:solidFill>
            <a:srgbClr val="FFA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b="1">
                <a:latin typeface="Arial" panose="020B0604020202020204" pitchFamily="34" charset="0"/>
                <a:cs typeface="Arial" panose="020B0604020202020204" pitchFamily="34" charset="0"/>
              </a:rPr>
              <a:t>255 161 0</a:t>
            </a:r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7D4F3E4A-F71F-4509-B78A-CE45F5BE757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2922779" y="3625650"/>
            <a:ext cx="2916000" cy="2340864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IN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9E3D8101-7A47-4C1B-9F43-DAED1A1F5125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5957174" y="3620852"/>
            <a:ext cx="2916000" cy="2340864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IN"/>
          </a:p>
        </p:txBody>
      </p:sp>
      <p:sp>
        <p:nvSpPr>
          <p:cNvPr id="15" name="Picture Placeholder 10">
            <a:extLst>
              <a:ext uri="{FF2B5EF4-FFF2-40B4-BE49-F238E27FC236}">
                <a16:creationId xmlns:a16="http://schemas.microsoft.com/office/drawing/2014/main" id="{383A6F46-0601-49B7-969C-1EBA2D7A221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016970" y="3625650"/>
            <a:ext cx="2916000" cy="2340864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IN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7EBA7B0-1680-490F-9667-AC1BDF7643BC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24000" y="6365508"/>
            <a:ext cx="10224000" cy="48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3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9977" indent="0">
              <a:buNone/>
              <a:defRPr/>
            </a:lvl2pPr>
            <a:lvl3pPr marL="259953" indent="0">
              <a:buNone/>
              <a:defRPr/>
            </a:lvl3pPr>
            <a:lvl4pPr marL="389929" indent="0">
              <a:buNone/>
              <a:defRPr/>
            </a:lvl4pPr>
            <a:lvl5pPr marL="51990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188328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8B3BB9-925E-4B95-A8DA-A3246E09EB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A21EA20-840D-46FB-9C7B-AD9158C508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07BD82-56B2-42F0-8D9A-7B1075DA5C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03427D-EE60-4AEF-929D-467631D5AE72}" type="datetimeFigureOut">
              <a:rPr lang="en-US" smtClean="0"/>
              <a:t>5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6FF148-B96B-4246-977F-844C1039E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CB88E3-5529-4D9E-97C2-5ADB90F6A9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0552BF-DE0E-43C1-82F0-F3D25EF658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7822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8" y="167389"/>
            <a:ext cx="670982" cy="215900"/>
          </a:xfrm>
          <a:prstGeom prst="rect">
            <a:avLst/>
          </a:prstGeom>
        </p:spPr>
        <p:txBody>
          <a:bodyPr lIns="91436" tIns="45718" rIns="91436" bIns="45718"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805498" y="1659044"/>
            <a:ext cx="6126673" cy="6897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247851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6" name="Oval 25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513638" y="1772438"/>
            <a:ext cx="546486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5" tIns="42238" rIns="84475" bIns="42238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805498" y="2524604"/>
            <a:ext cx="6126673" cy="7481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247851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" name="Oval 26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14854" y="2673653"/>
            <a:ext cx="546486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5" tIns="42238" rIns="84475" bIns="42238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5498" y="3433565"/>
            <a:ext cx="6126673" cy="76902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247851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0" name="Oval 26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505414" y="3587847"/>
            <a:ext cx="546486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5" tIns="42238" rIns="84475" bIns="42238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805498" y="4358004"/>
            <a:ext cx="6126673" cy="7325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247851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2" name="Oval 26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523355" y="4491911"/>
            <a:ext cx="546486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5" tIns="42238" rIns="84475" bIns="42238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805498" y="5255357"/>
            <a:ext cx="6126673" cy="66479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247851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4" name="Oval 263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485340" y="5341154"/>
            <a:ext cx="546486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5" tIns="42238" rIns="84475" bIns="42238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9478895" y="1667818"/>
            <a:ext cx="2233504" cy="689739"/>
          </a:xfrm>
          <a:prstGeom prst="rect">
            <a:avLst/>
          </a:prstGeom>
          <a:solidFill>
            <a:srgbClr val="E2FFC5"/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247851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9478895" y="2533378"/>
            <a:ext cx="2233504" cy="748180"/>
          </a:xfrm>
          <a:prstGeom prst="rect">
            <a:avLst/>
          </a:prstGeom>
          <a:solidFill>
            <a:srgbClr val="E2FFC5"/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247851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478895" y="3442339"/>
            <a:ext cx="2233504" cy="769026"/>
          </a:xfrm>
          <a:prstGeom prst="rect">
            <a:avLst/>
          </a:prstGeom>
          <a:solidFill>
            <a:srgbClr val="E2FFC5"/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247851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9478895" y="4366780"/>
            <a:ext cx="2233504" cy="732512"/>
          </a:xfrm>
          <a:prstGeom prst="rect">
            <a:avLst/>
          </a:prstGeom>
          <a:solidFill>
            <a:srgbClr val="E2FFC5"/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247851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9478895" y="5264133"/>
            <a:ext cx="2233504" cy="664795"/>
          </a:xfrm>
          <a:prstGeom prst="rect">
            <a:avLst/>
          </a:prstGeom>
          <a:solidFill>
            <a:srgbClr val="E2FFC5"/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159857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7096986" y="1667818"/>
            <a:ext cx="2233504" cy="689739"/>
          </a:xfrm>
          <a:prstGeom prst="rect">
            <a:avLst/>
          </a:prstGeom>
          <a:solidFill>
            <a:srgbClr val="F8D9FF"/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247851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7096986" y="2533378"/>
            <a:ext cx="2233504" cy="748180"/>
          </a:xfrm>
          <a:prstGeom prst="rect">
            <a:avLst/>
          </a:prstGeom>
          <a:solidFill>
            <a:srgbClr val="F8D9FF"/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247851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7096986" y="3442339"/>
            <a:ext cx="2233504" cy="769026"/>
          </a:xfrm>
          <a:prstGeom prst="rect">
            <a:avLst/>
          </a:prstGeom>
          <a:solidFill>
            <a:srgbClr val="F8D9FF"/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247851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7096986" y="4366780"/>
            <a:ext cx="2233504" cy="732512"/>
          </a:xfrm>
          <a:prstGeom prst="rect">
            <a:avLst/>
          </a:prstGeom>
          <a:solidFill>
            <a:srgbClr val="F8D9FF"/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247851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7096986" y="5264133"/>
            <a:ext cx="2233504" cy="664795"/>
          </a:xfrm>
          <a:prstGeom prst="rect">
            <a:avLst/>
          </a:prstGeom>
          <a:solidFill>
            <a:srgbClr val="F8D9FF"/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247851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7409360" y="1306419"/>
            <a:ext cx="1228582" cy="316133"/>
          </a:xfrm>
          <a:prstGeom prst="rect">
            <a:avLst/>
          </a:prstGeom>
          <a:noFill/>
        </p:spPr>
        <p:txBody>
          <a:bodyPr wrap="none" lIns="84475" tIns="42238" rIns="84475" bIns="42238" rtlCol="0">
            <a:spAutoFit/>
          </a:bodyPr>
          <a:lstStyle/>
          <a:p>
            <a:pPr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Description</a:t>
            </a:r>
            <a:endParaRPr lang="en-US" sz="1500" b="1">
              <a:solidFill>
                <a:srgbClr val="000000"/>
              </a:solidFill>
            </a:endParaRPr>
          </a:p>
        </p:txBody>
      </p:sp>
      <p:sp>
        <p:nvSpPr>
          <p:cNvPr id="26" name="TextBox 25"/>
          <p:cNvSpPr txBox="1"/>
          <p:nvPr userDrawn="1"/>
        </p:nvSpPr>
        <p:spPr>
          <a:xfrm>
            <a:off x="9796354" y="1290699"/>
            <a:ext cx="1228582" cy="316133"/>
          </a:xfrm>
          <a:prstGeom prst="rect">
            <a:avLst/>
          </a:prstGeom>
          <a:noFill/>
        </p:spPr>
        <p:txBody>
          <a:bodyPr wrap="none" lIns="84475" tIns="42238" rIns="84475" bIns="42238" rtlCol="0">
            <a:spAutoFit/>
          </a:bodyPr>
          <a:lstStyle/>
          <a:p>
            <a:pPr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Description</a:t>
            </a:r>
            <a:endParaRPr lang="en-US" sz="1500" b="1">
              <a:solidFill>
                <a:srgbClr val="000000"/>
              </a:solidFill>
            </a:endParaRPr>
          </a:p>
        </p:txBody>
      </p:sp>
      <p:sp>
        <p:nvSpPr>
          <p:cNvPr id="27" name="TextBox 26"/>
          <p:cNvSpPr txBox="1"/>
          <p:nvPr userDrawn="1"/>
        </p:nvSpPr>
        <p:spPr>
          <a:xfrm>
            <a:off x="805490" y="1306452"/>
            <a:ext cx="1228582" cy="316133"/>
          </a:xfrm>
          <a:prstGeom prst="rect">
            <a:avLst/>
          </a:prstGeom>
          <a:noFill/>
        </p:spPr>
        <p:txBody>
          <a:bodyPr wrap="none" lIns="84475" tIns="42238" rIns="84475" bIns="42238" rtlCol="0">
            <a:spAutoFit/>
          </a:bodyPr>
          <a:lstStyle/>
          <a:p>
            <a:pPr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Description</a:t>
            </a:r>
            <a:endParaRPr lang="en-US" sz="1500" b="1">
              <a:solidFill>
                <a:srgbClr val="000000"/>
              </a:solidFill>
            </a:endParaRPr>
          </a:p>
        </p:txBody>
      </p:sp>
      <p:sp>
        <p:nvSpPr>
          <p:cNvPr id="28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6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876" indent="-179959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161156355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BEA6D9-215F-3F01-BCAF-2B4DB30D48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0372CBA-652E-8ECF-62E9-501273B266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8A32B8-C363-D93D-4F83-4473304426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1706AB-E665-4790-AE78-000EE9F7AB7D}" type="datetimeFigureOut">
              <a:rPr lang="en-US" smtClean="0"/>
              <a:t>5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A03B7D-F870-1129-0DA0-17113D4E38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B74835-F24B-03C0-10CF-BA21AFF80F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645A2-AFD9-4540-9B11-8B5F1D16FC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20636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873D12-DAAB-D990-0E4F-66BD0A074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9A4EFB-BDBB-B84D-CF39-4A9A728B09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D9C6DF-54C3-84F0-E659-6A83A649C0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1706AB-E665-4790-AE78-000EE9F7AB7D}" type="datetimeFigureOut">
              <a:rPr lang="en-US" smtClean="0"/>
              <a:t>5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5B82EE-DB81-5A80-8315-AC0ABB949F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EEBB91-7861-06E1-D3A2-CF6789943A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645A2-AFD9-4540-9B11-8B5F1D16FC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687688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E80F8F-C871-13BD-E6BE-AEEE9D5153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0A001A-E033-7566-AE6C-20C609BDD1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B8CDE3-5F11-D999-13FE-4184037401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1706AB-E665-4790-AE78-000EE9F7AB7D}" type="datetimeFigureOut">
              <a:rPr lang="en-US" smtClean="0"/>
              <a:t>5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834EF7-8803-7982-3A58-B4EA157540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0BB3BD-2221-751B-5821-04DB2DC36D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645A2-AFD9-4540-9B11-8B5F1D16FC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365503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16A61-FFCB-D7FC-9ACD-E0DEE8D79F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1C0930-62A6-0676-BADF-F4AA09C78A9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C9C6973-D47F-5F59-D5D6-1DD2835DFFB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8F8FD02-6CD6-0649-DCFA-9E5669BB04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1706AB-E665-4790-AE78-000EE9F7AB7D}" type="datetimeFigureOut">
              <a:rPr lang="en-US" smtClean="0"/>
              <a:t>5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7992990-1045-673E-68CF-A4DC78AEDE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6F00C9-7A40-7A57-6952-642C9C014D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645A2-AFD9-4540-9B11-8B5F1D16FC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015603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A997C7-99BD-7458-5CD7-5AB3627E57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253C1D-9E00-2D58-FD68-667FB359AD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34FE48-C6FD-847F-E19F-1EE84FDE22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F86FA5-9462-5B03-21A3-D55A19A654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87FC8E-3C7C-1D34-F358-B19CE361B75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5F69D88-C431-04AA-06A1-0C06EC5E49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1706AB-E665-4790-AE78-000EE9F7AB7D}" type="datetimeFigureOut">
              <a:rPr lang="en-US" smtClean="0"/>
              <a:t>5/29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4D1472A-B040-9472-6158-A99D2B36E9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4CBCA51-88EA-D8C9-9C6A-A98ACD1CB1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645A2-AFD9-4540-9B11-8B5F1D16FC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029033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DB27DD-9E2A-1271-0BE4-CF7F4F6EFE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D25199-2FF3-E844-48F3-0EE993CFFC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1706AB-E665-4790-AE78-000EE9F7AB7D}" type="datetimeFigureOut">
              <a:rPr lang="en-US" smtClean="0"/>
              <a:t>5/2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AA3349-D04B-314F-D76F-4C98D9786B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C68D5F-1BC6-2DF4-3A95-CB8E8E1FD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645A2-AFD9-4540-9B11-8B5F1D16FC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28884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2AB81EB-91AA-E89E-51F5-37445E49A7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1706AB-E665-4790-AE78-000EE9F7AB7D}" type="datetimeFigureOut">
              <a:rPr lang="en-US" smtClean="0"/>
              <a:t>5/2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5ABF920-B6EF-DCE4-0D90-C68CB8FD19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F6FFD1-835E-6437-1B79-1D5833DDD1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645A2-AFD9-4540-9B11-8B5F1D16FC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20655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823C38-1CF3-DF61-61A4-27D9AB67E9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D2529F-382A-3D4B-7B61-98A9CF169B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C021CD-8A35-1E15-45F3-98167B4708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A516F6-A1E4-53C3-99A5-E40C85D367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1706AB-E665-4790-AE78-000EE9F7AB7D}" type="datetimeFigureOut">
              <a:rPr lang="en-US" smtClean="0"/>
              <a:t>5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3A5603-1A36-A4F2-0B28-740799C54D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18A289D-8D0D-BA63-34D0-4C9C434B42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645A2-AFD9-4540-9B11-8B5F1D16FC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10690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C49816-6031-0727-7166-AC45AD588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EE67DB4-4725-CD5E-C328-9C4E6745B5D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BD2098-1A86-CA67-4424-B7439A835D4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29F13F-2708-869A-E44E-99CF215BCB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1706AB-E665-4790-AE78-000EE9F7AB7D}" type="datetimeFigureOut">
              <a:rPr lang="en-US" smtClean="0"/>
              <a:t>5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C2F27D-9B3F-14E8-18FD-D24ED3F335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541C25-92B1-5808-79F3-389CE68955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645A2-AFD9-4540-9B11-8B5F1D16FC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3705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5A5E34-ECF6-7C3F-D7D8-B430487391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85480FF-5449-FADC-A0BF-D376ABD6DD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3BD50-246A-7C67-62B8-12B08C9743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1706AB-E665-4790-AE78-000EE9F7AB7D}" type="datetimeFigureOut">
              <a:rPr lang="en-US" smtClean="0"/>
              <a:t>5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8AF32C-CD08-1C2A-0050-320DC3E797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A09E38-C778-A1D2-0377-B90FAC3C1F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645A2-AFD9-4540-9B11-8B5F1D16FC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2718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8" y="167389"/>
            <a:ext cx="670982" cy="215900"/>
          </a:xfrm>
          <a:prstGeom prst="rect">
            <a:avLst/>
          </a:prstGeom>
        </p:spPr>
        <p:txBody>
          <a:bodyPr lIns="91436" tIns="45718" rIns="91436" bIns="45718"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aphicFrame>
        <p:nvGraphicFramePr>
          <p:cNvPr id="5" name="Content Placeholder 3"/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281133187"/>
              </p:ext>
            </p:extLst>
          </p:nvPr>
        </p:nvGraphicFramePr>
        <p:xfrm>
          <a:off x="525665" y="1463065"/>
          <a:ext cx="11153881" cy="5193260"/>
        </p:xfrm>
        <a:graphic>
          <a:graphicData uri="http://schemas.openxmlformats.org/drawingml/2006/table">
            <a:tbl>
              <a:tblPr firstRow="1" bandRow="1"/>
              <a:tblGrid>
                <a:gridCol w="5256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98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2483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68701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SN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Particulars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Remarks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4461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1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endParaRPr lang="en-US" sz="1400" baseline="0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226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2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6669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3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0113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4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6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876" indent="-179959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546594677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AA47BB-061A-2C0E-C75D-5DF13E06AFA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5185C42-0247-B252-843B-B40E2C39ACE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526AE4-3EFB-4BBF-D433-01CF3BF935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1706AB-E665-4790-AE78-000EE9F7AB7D}" type="datetimeFigureOut">
              <a:rPr lang="en-US" smtClean="0"/>
              <a:t>5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8E9AC5-1CE6-372D-CED4-D78BC75912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FA0288-E8C0-1F27-A3B3-0B204E464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645A2-AFD9-4540-9B11-8B5F1D16FC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1599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PP header horizon met logo's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4228" y="407988"/>
            <a:ext cx="12196234" cy="1566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4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58" y="2374900"/>
            <a:ext cx="11110383" cy="1144588"/>
          </a:xfrm>
        </p:spPr>
        <p:txBody>
          <a:bodyPr bIns="45712"/>
          <a:lstStyle>
            <a:lvl1pPr>
              <a:defRPr sz="3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4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758" y="6191262"/>
            <a:ext cx="11110383" cy="417513"/>
          </a:xfrm>
        </p:spPr>
        <p:txBody>
          <a:bodyPr tIns="45712" rIns="91422" bIns="45712"/>
          <a:lstStyle>
            <a:lvl1pPr marL="0" indent="0">
              <a:buFontTx/>
              <a:buNone/>
              <a:defRPr sz="1799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6695035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27634" y="521893"/>
            <a:ext cx="11632606" cy="360363"/>
          </a:xfrm>
        </p:spPr>
        <p:txBody>
          <a:bodyPr/>
          <a:lstStyle>
            <a:lvl1pPr>
              <a:defRPr sz="1799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4"/>
          </p:nvPr>
        </p:nvSpPr>
        <p:spPr>
          <a:xfrm>
            <a:off x="264215" y="167389"/>
            <a:ext cx="4798484" cy="2159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8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746683" y="191630"/>
            <a:ext cx="326444" cy="219391"/>
          </a:xfrm>
          <a:prstGeom prst="rect">
            <a:avLst/>
          </a:prstGeom>
        </p:spPr>
        <p:txBody>
          <a:bodyPr vert="horz" lIns="0" tIns="44098" rIns="69446" bIns="44098" rtlCol="0" anchor="ctr"/>
          <a:lstStyle>
            <a:lvl1pPr algn="l">
              <a:defRPr sz="1000" b="1">
                <a:solidFill>
                  <a:schemeClr val="bg1"/>
                </a:solidFill>
                <a:latin typeface="+mn-lt"/>
              </a:defRPr>
            </a:lvl1pPr>
          </a:lstStyle>
          <a:p>
            <a:fld id="{7103653F-4628-4CCA-BBFC-10994C39EA7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5"/>
          </p:nvPr>
        </p:nvSpPr>
        <p:spPr>
          <a:xfrm>
            <a:off x="279263" y="1094248"/>
            <a:ext cx="11613834" cy="5204657"/>
          </a:xfrm>
        </p:spPr>
        <p:txBody>
          <a:bodyPr/>
          <a:lstStyle>
            <a:lvl1pPr>
              <a:defRPr sz="1500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876" indent="-179959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09967359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gray">
          <a:xfrm>
            <a:off x="1761811" y="1832375"/>
            <a:ext cx="9411002" cy="53018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3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IN" sz="1500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563413" y="1837910"/>
            <a:ext cx="1120543" cy="53018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45" tIns="67145" rIns="67145" bIns="67145" anchor="ctr"/>
          <a:lstStyle/>
          <a:p>
            <a:pPr algn="ctr" defTabSz="91423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gray">
          <a:xfrm>
            <a:off x="1764492" y="2475356"/>
            <a:ext cx="9411002" cy="49489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3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gray">
          <a:xfrm>
            <a:off x="1772030" y="3081657"/>
            <a:ext cx="9411002" cy="550933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3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9" name="Rectangle 15"/>
          <p:cNvSpPr>
            <a:spLocks noChangeArrowheads="1"/>
          </p:cNvSpPr>
          <p:nvPr userDrawn="1"/>
        </p:nvSpPr>
        <p:spPr bwMode="gray">
          <a:xfrm>
            <a:off x="563406" y="2475356"/>
            <a:ext cx="1093089" cy="49489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45" tIns="67145" rIns="67145" bIns="67145" anchor="ctr"/>
          <a:lstStyle/>
          <a:p>
            <a:pPr algn="ctr" defTabSz="91423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563406" y="3081648"/>
            <a:ext cx="1093089" cy="53018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45" tIns="67145" rIns="67145" bIns="67145" anchor="ctr"/>
          <a:lstStyle/>
          <a:p>
            <a:pPr algn="ctr" defTabSz="91423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gray">
          <a:xfrm>
            <a:off x="1772030" y="1210233"/>
            <a:ext cx="9411002" cy="53018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3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IN" sz="1500" b="1" noProof="1">
                <a:solidFill>
                  <a:srgbClr val="5A245A">
                    <a:lumMod val="90000"/>
                    <a:lumOff val="10000"/>
                  </a:srgbClr>
                </a:solidFill>
              </a:rPr>
              <a:t>Text</a:t>
            </a: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563407" y="1210061"/>
            <a:ext cx="1120543" cy="53018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45" tIns="67145" rIns="67145" bIns="67145" anchor="ctr"/>
          <a:lstStyle/>
          <a:p>
            <a:pPr algn="ctr" defTabSz="91423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gray">
          <a:xfrm>
            <a:off x="1772023" y="4321226"/>
            <a:ext cx="9411002" cy="550933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3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gray">
          <a:xfrm>
            <a:off x="563406" y="4321213"/>
            <a:ext cx="1093089" cy="53018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45" tIns="67145" rIns="67145" bIns="67145" anchor="ctr"/>
          <a:lstStyle/>
          <a:p>
            <a:pPr algn="ctr" defTabSz="91423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gray">
          <a:xfrm>
            <a:off x="1772030" y="3725718"/>
            <a:ext cx="9411002" cy="49489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3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6" name="Rectangle 15"/>
          <p:cNvSpPr>
            <a:spLocks noChangeArrowheads="1"/>
          </p:cNvSpPr>
          <p:nvPr userDrawn="1"/>
        </p:nvSpPr>
        <p:spPr bwMode="gray">
          <a:xfrm>
            <a:off x="570944" y="3725718"/>
            <a:ext cx="1093089" cy="49489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45" tIns="67145" rIns="67145" bIns="67145" anchor="ctr"/>
          <a:lstStyle/>
          <a:p>
            <a:pPr algn="ctr" defTabSz="91423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618515351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gray">
          <a:xfrm>
            <a:off x="1744863" y="2417847"/>
            <a:ext cx="9411002" cy="53018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10" tIns="67090" rIns="67090" bIns="67090" anchor="ctr"/>
          <a:lstStyle/>
          <a:p>
            <a:pPr defTabSz="918897" eaLnBrk="0" hangingPunct="0">
              <a:spcBef>
                <a:spcPct val="25000"/>
              </a:spcBef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546470" y="1767272"/>
            <a:ext cx="1120543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0" tIns="67090" rIns="67090" bIns="67090" anchor="ctr"/>
          <a:lstStyle/>
          <a:p>
            <a:pPr algn="ctr" defTabSz="918897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gray">
          <a:xfrm>
            <a:off x="1747539" y="3056036"/>
            <a:ext cx="9411002" cy="49489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10" tIns="67090" rIns="67090" bIns="67090" anchor="ctr"/>
          <a:lstStyle/>
          <a:p>
            <a:pPr defTabSz="918897" eaLnBrk="0" hangingPunct="0">
              <a:spcBef>
                <a:spcPct val="25000"/>
              </a:spcBef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8" name="Rectangle 15"/>
          <p:cNvSpPr>
            <a:spLocks noChangeArrowheads="1"/>
          </p:cNvSpPr>
          <p:nvPr userDrawn="1"/>
        </p:nvSpPr>
        <p:spPr bwMode="gray">
          <a:xfrm>
            <a:off x="546457" y="2404714"/>
            <a:ext cx="1093089" cy="494891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0" tIns="67090" rIns="67090" bIns="67090" anchor="ctr"/>
          <a:lstStyle/>
          <a:p>
            <a:pPr algn="ctr" defTabSz="918897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gray">
          <a:xfrm>
            <a:off x="1755081" y="1139588"/>
            <a:ext cx="9411002" cy="53018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10" tIns="67090" rIns="67090" bIns="67090" anchor="ctr"/>
          <a:lstStyle/>
          <a:p>
            <a:pPr defTabSz="918897" eaLnBrk="0" hangingPunct="0">
              <a:spcBef>
                <a:spcPct val="25000"/>
              </a:spcBef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546465" y="1139423"/>
            <a:ext cx="1120543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0" tIns="67090" rIns="67090" bIns="67090" anchor="ctr"/>
          <a:lstStyle/>
          <a:p>
            <a:pPr algn="ctr" defTabSz="918897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gray">
          <a:xfrm>
            <a:off x="1755073" y="3676985"/>
            <a:ext cx="9411002" cy="55093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10" tIns="67090" rIns="67090" bIns="67090" anchor="ctr"/>
          <a:lstStyle/>
          <a:p>
            <a:pPr defTabSz="918897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gray">
          <a:xfrm>
            <a:off x="546456" y="3025654"/>
            <a:ext cx="1093089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0" tIns="67090" rIns="67090" bIns="67090" anchor="ctr"/>
          <a:lstStyle/>
          <a:p>
            <a:pPr algn="ctr" defTabSz="918897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gray">
          <a:xfrm>
            <a:off x="1747539" y="4378583"/>
            <a:ext cx="9411002" cy="55093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10" tIns="67090" rIns="67090" bIns="67090" anchor="ctr"/>
          <a:lstStyle/>
          <a:p>
            <a:pPr defTabSz="918897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gray">
          <a:xfrm>
            <a:off x="538927" y="3727245"/>
            <a:ext cx="1093089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0" tIns="67090" rIns="67090" bIns="67090" anchor="ctr"/>
          <a:lstStyle/>
          <a:p>
            <a:pPr algn="ctr" defTabSz="918897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gray">
          <a:xfrm>
            <a:off x="1761811" y="1781748"/>
            <a:ext cx="9411002" cy="55093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10" tIns="67090" rIns="67090" bIns="67090" anchor="ctr"/>
          <a:lstStyle/>
          <a:p>
            <a:pPr defTabSz="918897" eaLnBrk="0" hangingPunct="0">
              <a:spcBef>
                <a:spcPct val="25000"/>
              </a:spcBef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6" name="Rectangle 15"/>
          <p:cNvSpPr>
            <a:spLocks noChangeArrowheads="1"/>
          </p:cNvSpPr>
          <p:nvPr userDrawn="1"/>
        </p:nvSpPr>
        <p:spPr bwMode="gray">
          <a:xfrm>
            <a:off x="534959" y="4429942"/>
            <a:ext cx="1093089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0" tIns="67090" rIns="67090" bIns="67090" anchor="ctr"/>
          <a:lstStyle/>
          <a:p>
            <a:pPr algn="ctr" defTabSz="918897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17" name="Rectangle 4"/>
          <p:cNvSpPr>
            <a:spLocks noChangeArrowheads="1"/>
          </p:cNvSpPr>
          <p:nvPr userDrawn="1"/>
        </p:nvSpPr>
        <p:spPr bwMode="gray">
          <a:xfrm>
            <a:off x="1759507" y="5125723"/>
            <a:ext cx="9411002" cy="55093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10" tIns="67090" rIns="67090" bIns="67090" anchor="ctr"/>
          <a:lstStyle/>
          <a:p>
            <a:pPr defTabSz="918897" eaLnBrk="0" hangingPunct="0">
              <a:spcBef>
                <a:spcPct val="25000"/>
              </a:spcBef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gray">
          <a:xfrm>
            <a:off x="550893" y="5139320"/>
            <a:ext cx="1093089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0" tIns="67090" rIns="67090" bIns="67090" anchor="ctr"/>
          <a:lstStyle/>
          <a:p>
            <a:pPr algn="ctr" defTabSz="918897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3858571376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27634" y="521893"/>
            <a:ext cx="11632606" cy="360363"/>
          </a:xfrm>
        </p:spPr>
        <p:txBody>
          <a:bodyPr/>
          <a:lstStyle>
            <a:lvl1pPr>
              <a:defRPr sz="2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4"/>
          </p:nvPr>
        </p:nvSpPr>
        <p:spPr>
          <a:xfrm>
            <a:off x="247787" y="167389"/>
            <a:ext cx="4798484" cy="2159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8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746683" y="205661"/>
            <a:ext cx="326444" cy="219391"/>
          </a:xfrm>
          <a:prstGeom prst="rect">
            <a:avLst/>
          </a:prstGeom>
        </p:spPr>
        <p:txBody>
          <a:bodyPr vert="horz" lIns="0" tIns="44098" rIns="69446" bIns="44098" rtlCol="0" anchor="ctr"/>
          <a:lstStyle>
            <a:lvl1pPr algn="l">
              <a:defRPr sz="1000" b="1">
                <a:solidFill>
                  <a:schemeClr val="bg1"/>
                </a:solidFill>
                <a:latin typeface="+mn-lt"/>
              </a:defRPr>
            </a:lvl1pPr>
          </a:lstStyle>
          <a:p>
            <a:fld id="{7103653F-4628-4CCA-BBFC-10994C39EA7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94118" y="1420553"/>
            <a:ext cx="10401366" cy="5121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51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0" name="Oval 25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605212" y="1435743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994118" y="2286123"/>
            <a:ext cx="10401366" cy="5555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51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2" name="Oval 26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06425" y="235098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994118" y="3195072"/>
            <a:ext cx="10401366" cy="5710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51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4" name="Oval 26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596988" y="3251151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994118" y="4119516"/>
            <a:ext cx="10401366" cy="5439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51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6" name="Oval 26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614925" y="415521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94118" y="5016841"/>
            <a:ext cx="10401366" cy="4936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159857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8" name="Oval 263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626203" y="504654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739548551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123" y="493825"/>
            <a:ext cx="11843810" cy="360363"/>
          </a:xfrm>
        </p:spPr>
        <p:txBody>
          <a:bodyPr/>
          <a:lstStyle>
            <a:lvl1pPr>
              <a:defRPr sz="1799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25531" y="1008768"/>
            <a:ext cx="11667569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3234991" y="1596984"/>
            <a:ext cx="8529600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3234991" y="4884939"/>
            <a:ext cx="8529600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3234991" y="3240961"/>
            <a:ext cx="8529600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jdelijke aanduiding voor afbeelding 12"/>
          <p:cNvSpPr>
            <a:spLocks noGrp="1"/>
          </p:cNvSpPr>
          <p:nvPr>
            <p:ph type="pic" sz="quarter" idx="22"/>
          </p:nvPr>
        </p:nvSpPr>
        <p:spPr>
          <a:xfrm>
            <a:off x="312120" y="1596984"/>
            <a:ext cx="2685029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/>
          </p:cNvSpPr>
          <p:nvPr>
            <p:ph type="pic" sz="quarter" idx="23"/>
          </p:nvPr>
        </p:nvSpPr>
        <p:spPr>
          <a:xfrm>
            <a:off x="295690" y="3240961"/>
            <a:ext cx="2699305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5" name="Tijdelijke aanduiding voor afbeelding 12"/>
          <p:cNvSpPr>
            <a:spLocks noGrp="1"/>
          </p:cNvSpPr>
          <p:nvPr>
            <p:ph type="pic" sz="quarter" idx="24"/>
          </p:nvPr>
        </p:nvSpPr>
        <p:spPr>
          <a:xfrm>
            <a:off x="328544" y="4884939"/>
            <a:ext cx="2666450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C7F818-1137-44F4-B6D6-BECAD6B9515E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ftr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0413784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8" y="844553"/>
            <a:ext cx="11110383" cy="360363"/>
          </a:xfrm>
        </p:spPr>
        <p:txBody>
          <a:bodyPr/>
          <a:lstStyle>
            <a:lvl1pPr>
              <a:defRPr sz="1799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37639" y="1513807"/>
            <a:ext cx="11131551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4339200" y="2088000"/>
            <a:ext cx="7315200" cy="2016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4339200" y="4377600"/>
            <a:ext cx="7315200" cy="2016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jdelijke aanduiding voor afbeelding 12"/>
          <p:cNvSpPr>
            <a:spLocks noGrp="1" noChangeAspect="1"/>
          </p:cNvSpPr>
          <p:nvPr>
            <p:ph type="pic" sz="quarter" idx="22"/>
          </p:nvPr>
        </p:nvSpPr>
        <p:spPr>
          <a:xfrm>
            <a:off x="539753" y="2088000"/>
            <a:ext cx="3513600" cy="2016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 noChangeAspect="1"/>
          </p:cNvSpPr>
          <p:nvPr>
            <p:ph type="pic" sz="quarter" idx="23"/>
          </p:nvPr>
        </p:nvSpPr>
        <p:spPr>
          <a:xfrm>
            <a:off x="537601" y="4377600"/>
            <a:ext cx="3513600" cy="2016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A22AC8-36D9-4965-81AD-19038FCC0CC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ftr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6865361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9771" y="521888"/>
            <a:ext cx="11698313" cy="360363"/>
          </a:xfrm>
        </p:spPr>
        <p:txBody>
          <a:bodyPr/>
          <a:lstStyle>
            <a:lvl1pPr>
              <a:defRPr sz="1799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443530" y="1919652"/>
            <a:ext cx="560158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6387782" y="1919652"/>
            <a:ext cx="5538105" cy="360000"/>
          </a:xfrm>
          <a:solidFill>
            <a:schemeClr val="accent5">
              <a:lumMod val="60000"/>
              <a:lumOff val="40000"/>
            </a:schemeClr>
          </a:solidFill>
        </p:spPr>
        <p:txBody>
          <a:bodyPr lIns="179967" anchor="ctr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74805" y="1050861"/>
            <a:ext cx="11716850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443530" y="2261652"/>
            <a:ext cx="560158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6387847" y="2261652"/>
            <a:ext cx="5538105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EDDE4F-381E-4904-8E4A-86B45F5FCC9F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ftr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649421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8" y="844553"/>
            <a:ext cx="11110383" cy="360363"/>
          </a:xfrm>
        </p:spPr>
        <p:txBody>
          <a:bodyPr/>
          <a:lstStyle>
            <a:lvl1pPr>
              <a:defRPr sz="1799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537601" y="2088000"/>
            <a:ext cx="35136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4344000" y="2088000"/>
            <a:ext cx="3513600" cy="360000"/>
          </a:xfrm>
          <a:solidFill>
            <a:schemeClr val="bg1">
              <a:lumMod val="85000"/>
            </a:schemeClr>
          </a:solidFill>
        </p:spPr>
        <p:txBody>
          <a:bodyPr lIns="179967" anchor="ctr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37639" y="1513807"/>
            <a:ext cx="11131551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15"/>
          <p:cNvSpPr>
            <a:spLocks noGrp="1"/>
          </p:cNvSpPr>
          <p:nvPr>
            <p:ph type="body" sz="quarter" idx="18"/>
          </p:nvPr>
        </p:nvSpPr>
        <p:spPr>
          <a:xfrm>
            <a:off x="8136001" y="2088000"/>
            <a:ext cx="35136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537601" y="2430000"/>
            <a:ext cx="351360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4344000" y="2430000"/>
            <a:ext cx="351360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8136001" y="2430000"/>
            <a:ext cx="351360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7271F2-7CBD-49FF-AC82-FB447FEFDDB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ftr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968619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8" y="167389"/>
            <a:ext cx="670982" cy="215900"/>
          </a:xfrm>
          <a:prstGeom prst="rect">
            <a:avLst/>
          </a:prstGeom>
        </p:spPr>
        <p:txBody>
          <a:bodyPr lIns="91436" tIns="45718" rIns="91436" bIns="45718"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978383066"/>
              </p:ext>
            </p:extLst>
          </p:nvPr>
        </p:nvGraphicFramePr>
        <p:xfrm>
          <a:off x="525667" y="1401715"/>
          <a:ext cx="11137454" cy="2355722"/>
        </p:xfrm>
        <a:graphic>
          <a:graphicData uri="http://schemas.openxmlformats.org/drawingml/2006/table">
            <a:tbl>
              <a:tblPr/>
              <a:tblGrid>
                <a:gridCol w="20236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39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677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20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63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7986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6343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71044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82688">
                <a:tc>
                  <a:txBody>
                    <a:bodyPr/>
                    <a:lstStyle/>
                    <a:p>
                      <a:pPr algn="ctr" fontAlgn="b"/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oM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Change Q/Q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Change Y/Y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marks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6" name="Group 5"/>
          <p:cNvGrpSpPr/>
          <p:nvPr userDrawn="1"/>
        </p:nvGrpSpPr>
        <p:grpSpPr>
          <a:xfrm>
            <a:off x="530984" y="4193070"/>
            <a:ext cx="11148564" cy="2232086"/>
            <a:chOff x="123367" y="5147491"/>
            <a:chExt cx="8864071" cy="1583827"/>
          </a:xfrm>
        </p:grpSpPr>
        <p:sp>
          <p:nvSpPr>
            <p:cNvPr id="7" name="Tijdelijke aanduiding voor verticale tekst 24"/>
            <p:cNvSpPr txBox="1">
              <a:spLocks/>
            </p:cNvSpPr>
            <p:nvPr/>
          </p:nvSpPr>
          <p:spPr>
            <a:xfrm>
              <a:off x="123367" y="5405493"/>
              <a:ext cx="8864069" cy="1325825"/>
            </a:xfrm>
            <a:prstGeom prst="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 vert="horz" lIns="91440" tIns="45720" rIns="91440" bIns="45720" rtlCol="0">
              <a:norm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5599" lvl="1" fontAlgn="base">
                <a:spcAft>
                  <a:spcPct val="0"/>
                </a:spcAft>
                <a:buFont typeface="Wingdings" pitchFamily="2" charset="2"/>
                <a:buChar char="§"/>
              </a:pPr>
              <a:r>
                <a:rPr lang="en-GB" sz="1300">
                  <a:solidFill>
                    <a:srgbClr val="000000"/>
                  </a:solidFill>
                </a:rPr>
                <a:t>Text</a:t>
              </a:r>
              <a:endParaRPr lang="en-GB" sz="1100">
                <a:solidFill>
                  <a:srgbClr val="000000"/>
                </a:solidFill>
              </a:endParaRPr>
            </a:p>
          </p:txBody>
        </p:sp>
        <p:sp>
          <p:nvSpPr>
            <p:cNvPr id="8" name="Tijdelijke aanduiding voor verticale tekst 25"/>
            <p:cNvSpPr txBox="1">
              <a:spLocks/>
            </p:cNvSpPr>
            <p:nvPr/>
          </p:nvSpPr>
          <p:spPr>
            <a:xfrm>
              <a:off x="123368" y="5147491"/>
              <a:ext cx="8864070" cy="258002"/>
            </a:xfrm>
            <a:prstGeom prst="rect">
              <a:avLst/>
            </a:prstGeom>
            <a:solidFill>
              <a:schemeClr val="accent6">
                <a:lumMod val="10000"/>
                <a:lumOff val="90000"/>
              </a:schemeClr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 vert="horz" wrap="none" lIns="180000" tIns="72000" rIns="216000" bIns="4572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3"/>
                </a:buClr>
                <a:buFont typeface="Wingdings" panose="05000000000000000000" pitchFamily="2" charset="2"/>
                <a:buNone/>
                <a:defRPr sz="1800" b="1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177800" indent="-17780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5600" indent="-17780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3400" indent="-174625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725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i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563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5600" indent="-173038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tabLst/>
                <a:defRPr sz="16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8163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81918" fontAlgn="base">
                <a:lnSpc>
                  <a:spcPts val="1736"/>
                </a:lnSpc>
                <a:spcBef>
                  <a:spcPts val="578"/>
                </a:spcBef>
                <a:spcAft>
                  <a:spcPts val="578"/>
                </a:spcAft>
                <a:buClr>
                  <a:srgbClr val="FFA100"/>
                </a:buClr>
                <a:defRPr/>
              </a:pPr>
              <a:r>
                <a:rPr lang="en-US" sz="1500">
                  <a:solidFill>
                    <a:srgbClr val="000000"/>
                  </a:solidFill>
                </a:rPr>
                <a:t>Highlights</a:t>
              </a:r>
            </a:p>
          </p:txBody>
        </p:sp>
      </p:grpSp>
      <p:graphicFrame>
        <p:nvGraphicFramePr>
          <p:cNvPr id="9" name="Table 8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32100661"/>
              </p:ext>
            </p:extLst>
          </p:nvPr>
        </p:nvGraphicFramePr>
        <p:xfrm>
          <a:off x="503759" y="3858782"/>
          <a:ext cx="11175786" cy="219415"/>
        </p:xfrm>
        <a:graphic>
          <a:graphicData uri="http://schemas.openxmlformats.org/drawingml/2006/table">
            <a:tbl>
              <a:tblPr/>
              <a:tblGrid>
                <a:gridCol w="27939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939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753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1252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941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ey</a:t>
                      </a:r>
                    </a:p>
                  </a:txBody>
                  <a:tcPr marL="11826" marR="11826" marT="967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11826" marR="11826" marT="96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11826" marR="11826" marT="96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6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11826" marR="11826" marT="9674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0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6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876" indent="-179959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215617850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8" y="844553"/>
            <a:ext cx="11110383" cy="360363"/>
          </a:xfrm>
        </p:spPr>
        <p:txBody>
          <a:bodyPr/>
          <a:lstStyle>
            <a:lvl1pPr>
              <a:defRPr sz="1799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537604" y="2088000"/>
            <a:ext cx="11112533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37639" y="1513807"/>
            <a:ext cx="11131551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jdelijke aanduiding voor tekst 10"/>
          <p:cNvSpPr>
            <a:spLocks noGrp="1"/>
          </p:cNvSpPr>
          <p:nvPr>
            <p:ph type="body" sz="quarter" idx="18"/>
          </p:nvPr>
        </p:nvSpPr>
        <p:spPr>
          <a:xfrm>
            <a:off x="537602" y="2448000"/>
            <a:ext cx="11112500" cy="957600"/>
          </a:xfrm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ijdelijke aanduiding voor tekst 10"/>
          <p:cNvSpPr>
            <a:spLocks noGrp="1"/>
          </p:cNvSpPr>
          <p:nvPr>
            <p:ph type="body" sz="quarter" idx="19"/>
          </p:nvPr>
        </p:nvSpPr>
        <p:spPr>
          <a:xfrm>
            <a:off x="537638" y="3913200"/>
            <a:ext cx="11112500" cy="957600"/>
          </a:xfrm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ijdelijke aanduiding voor tekst 10"/>
          <p:cNvSpPr>
            <a:spLocks noGrp="1"/>
          </p:cNvSpPr>
          <p:nvPr>
            <p:ph type="body" sz="quarter" idx="20"/>
          </p:nvPr>
        </p:nvSpPr>
        <p:spPr>
          <a:xfrm>
            <a:off x="537638" y="5382000"/>
            <a:ext cx="11112500" cy="957600"/>
          </a:xfrm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ijdelijke aanduiding voor tekst 15"/>
          <p:cNvSpPr>
            <a:spLocks noGrp="1"/>
          </p:cNvSpPr>
          <p:nvPr>
            <p:ph type="body" sz="quarter" idx="21"/>
          </p:nvPr>
        </p:nvSpPr>
        <p:spPr>
          <a:xfrm>
            <a:off x="537604" y="3553200"/>
            <a:ext cx="11112533" cy="360000"/>
          </a:xfrm>
          <a:solidFill>
            <a:schemeClr val="bg1">
              <a:lumMod val="85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ijdelijke aanduiding voor tekst 15"/>
          <p:cNvSpPr>
            <a:spLocks noGrp="1"/>
          </p:cNvSpPr>
          <p:nvPr>
            <p:ph type="body" sz="quarter" idx="22"/>
          </p:nvPr>
        </p:nvSpPr>
        <p:spPr>
          <a:xfrm>
            <a:off x="537637" y="5022000"/>
            <a:ext cx="11112533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F3E2E6-0002-40E1-98BA-05E901993722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ftr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332353"/>
      </p:ext>
    </p:extLst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472706" y="1562378"/>
            <a:ext cx="2007593" cy="4761569"/>
            <a:chOff x="404813" y="1566716"/>
            <a:chExt cx="1719262" cy="4774796"/>
          </a:xfrm>
        </p:grpSpPr>
        <p:sp>
          <p:nvSpPr>
            <p:cNvPr id="6" name="Rectangle 5"/>
            <p:cNvSpPr>
              <a:spLocks noChangeArrowheads="1"/>
            </p:cNvSpPr>
            <p:nvPr/>
          </p:nvSpPr>
          <p:spPr bwMode="gray">
            <a:xfrm>
              <a:off x="404813" y="1566716"/>
              <a:ext cx="1719262" cy="968375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23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00" b="1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7" name="Rectangle 6"/>
            <p:cNvSpPr>
              <a:spLocks noChangeArrowheads="1"/>
            </p:cNvSpPr>
            <p:nvPr/>
          </p:nvSpPr>
          <p:spPr bwMode="gray">
            <a:xfrm>
              <a:off x="404813" y="2836581"/>
              <a:ext cx="1719262" cy="966788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740621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500" b="1">
                  <a:solidFill>
                    <a:srgbClr val="000000"/>
                  </a:solidFill>
                  <a:ea typeface="ＭＳ Ｐゴシック" pitchFamily="34" charset="-128"/>
                </a:rPr>
                <a:t>Text</a:t>
              </a:r>
            </a:p>
          </p:txBody>
        </p:sp>
        <p:sp>
          <p:nvSpPr>
            <p:cNvPr id="8" name="Rectangle 7"/>
            <p:cNvSpPr>
              <a:spLocks noChangeArrowheads="1"/>
            </p:cNvSpPr>
            <p:nvPr/>
          </p:nvSpPr>
          <p:spPr bwMode="gray">
            <a:xfrm>
              <a:off x="404813" y="4104859"/>
              <a:ext cx="1719262" cy="966787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23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00" b="1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gray">
            <a:xfrm>
              <a:off x="404813" y="5373137"/>
              <a:ext cx="1719262" cy="96837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23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00" b="1">
                  <a:solidFill>
                    <a:srgbClr val="000000"/>
                  </a:solidFill>
                </a:rPr>
                <a:t>Text</a:t>
              </a:r>
            </a:p>
          </p:txBody>
        </p:sp>
      </p:grpSp>
      <p:sp>
        <p:nvSpPr>
          <p:cNvPr id="10" name="AutoShape 9"/>
          <p:cNvSpPr>
            <a:spLocks noChangeArrowheads="1"/>
          </p:cNvSpPr>
          <p:nvPr userDrawn="1"/>
        </p:nvSpPr>
        <p:spPr bwMode="gray">
          <a:xfrm rot="5400000" flipV="1">
            <a:off x="1340148" y="2447263"/>
            <a:ext cx="310288" cy="420798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99333" tIns="0" rIns="0" bIns="0" anchor="ctr"/>
          <a:lstStyle/>
          <a:p>
            <a:pPr algn="ctr" defTabSz="91423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799" noProof="1">
              <a:solidFill>
                <a:srgbClr val="000000"/>
              </a:solidFill>
            </a:endParaRPr>
          </a:p>
        </p:txBody>
      </p:sp>
      <p:sp>
        <p:nvSpPr>
          <p:cNvPr id="11" name="AutoShape 9"/>
          <p:cNvSpPr>
            <a:spLocks noChangeArrowheads="1"/>
          </p:cNvSpPr>
          <p:nvPr userDrawn="1"/>
        </p:nvSpPr>
        <p:spPr bwMode="gray">
          <a:xfrm rot="5400000" flipV="1">
            <a:off x="1340148" y="3752895"/>
            <a:ext cx="310288" cy="420798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99333" tIns="0" rIns="0" bIns="0" anchor="ctr"/>
          <a:lstStyle/>
          <a:p>
            <a:pPr algn="ctr" defTabSz="91423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799" noProof="1">
              <a:solidFill>
                <a:srgbClr val="000000"/>
              </a:solidFill>
            </a:endParaRPr>
          </a:p>
        </p:txBody>
      </p:sp>
      <p:sp>
        <p:nvSpPr>
          <p:cNvPr id="12" name="AutoShape 9"/>
          <p:cNvSpPr>
            <a:spLocks noChangeArrowheads="1"/>
          </p:cNvSpPr>
          <p:nvPr userDrawn="1"/>
        </p:nvSpPr>
        <p:spPr bwMode="gray">
          <a:xfrm rot="5400000" flipV="1">
            <a:off x="1340148" y="5004241"/>
            <a:ext cx="310288" cy="420798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99333" tIns="0" rIns="0" bIns="0" anchor="ctr"/>
          <a:lstStyle/>
          <a:p>
            <a:pPr algn="ctr" defTabSz="91423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799" noProof="1">
              <a:solidFill>
                <a:srgbClr val="000000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526760" y="1522945"/>
            <a:ext cx="9087087" cy="1008627"/>
          </a:xfrm>
          <a:prstGeom prst="rect">
            <a:avLst/>
          </a:prstGeom>
          <a:noFill/>
          <a:ln>
            <a:noFill/>
          </a:ln>
        </p:spPr>
        <p:txBody>
          <a:bodyPr wrap="square" lIns="84469" tIns="42236" rIns="84469" bIns="42236" rtlCol="0">
            <a:spAutoFit/>
          </a:bodyPr>
          <a:lstStyle/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2526760" y="2773673"/>
            <a:ext cx="9087087" cy="1008627"/>
          </a:xfrm>
          <a:prstGeom prst="rect">
            <a:avLst/>
          </a:prstGeom>
          <a:noFill/>
          <a:ln>
            <a:noFill/>
          </a:ln>
        </p:spPr>
        <p:txBody>
          <a:bodyPr wrap="square" lIns="84469" tIns="42236" rIns="84469" bIns="42236" rtlCol="0">
            <a:spAutoFit/>
          </a:bodyPr>
          <a:lstStyle/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526760" y="5277869"/>
            <a:ext cx="9087087" cy="1008627"/>
          </a:xfrm>
          <a:prstGeom prst="rect">
            <a:avLst/>
          </a:prstGeom>
          <a:noFill/>
          <a:ln>
            <a:noFill/>
          </a:ln>
        </p:spPr>
        <p:txBody>
          <a:bodyPr wrap="square" lIns="84469" tIns="42236" rIns="84469" bIns="42236" rtlCol="0">
            <a:spAutoFit/>
          </a:bodyPr>
          <a:lstStyle/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2526760" y="4023351"/>
            <a:ext cx="9087087" cy="1008627"/>
          </a:xfrm>
          <a:prstGeom prst="rect">
            <a:avLst/>
          </a:prstGeom>
          <a:noFill/>
          <a:ln>
            <a:noFill/>
          </a:ln>
        </p:spPr>
        <p:txBody>
          <a:bodyPr wrap="square" lIns="84469" tIns="42236" rIns="84469" bIns="42236" rtlCol="0">
            <a:spAutoFit/>
          </a:bodyPr>
          <a:lstStyle/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7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6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876" indent="-179959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650654995"/>
      </p:ext>
    </p:extLst>
  </p:cSld>
  <p:clrMapOvr>
    <a:masterClrMapping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 userDrawn="1"/>
        </p:nvGraphicFramePr>
        <p:xfrm>
          <a:off x="436024" y="1363806"/>
          <a:ext cx="11094065" cy="5185395"/>
        </p:xfrm>
        <a:graphic>
          <a:graphicData uri="http://schemas.openxmlformats.org/drawingml/2006/table">
            <a:tbl>
              <a:tblPr firstRow="1"/>
              <a:tblGrid>
                <a:gridCol w="4181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592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06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136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5731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5731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IN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N</a:t>
                      </a:r>
                      <a:endParaRPr lang="en-US" sz="1400" b="1" i="0" u="none" strike="noStrike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Area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kern="1200" cap="all">
                          <a:solidFill>
                            <a:srgbClr val="31A93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</a:t>
                      </a:r>
                      <a:endParaRPr lang="en-US" sz="1900" kern="1200">
                        <a:solidFill>
                          <a:srgbClr val="31A93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en-IN" sz="1400" b="1">
                          <a:solidFill>
                            <a:srgbClr val="FF0000"/>
                          </a:solidFill>
                        </a:rPr>
                        <a:t>X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9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1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3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4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7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6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876" indent="-179959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467048155"/>
      </p:ext>
    </p:extLst>
  </p:cSld>
  <p:clrMapOvr>
    <a:masterClrMapping/>
  </p:clrMapOvr>
  <p:transition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1886062" y="2701587"/>
            <a:ext cx="1408890" cy="54477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ctr"/>
          <a:lstStyle/>
          <a:p>
            <a:pPr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246663" y="3336695"/>
            <a:ext cx="1408890" cy="808088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ctr"/>
          <a:lstStyle/>
          <a:p>
            <a:pPr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4612522" y="4354209"/>
            <a:ext cx="1408890" cy="201922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ctr"/>
          <a:lstStyle/>
          <a:p>
            <a:pPr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525462" y="1492844"/>
            <a:ext cx="11221609" cy="308998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ctr"/>
          <a:lstStyle/>
          <a:p>
            <a:pPr algn="ctr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799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1" name="Bent-Up Arrow 20"/>
          <p:cNvSpPr/>
          <p:nvPr userDrawn="1"/>
        </p:nvSpPr>
        <p:spPr>
          <a:xfrm rot="5400000">
            <a:off x="3379868" y="4018557"/>
            <a:ext cx="1099463" cy="1365860"/>
          </a:xfrm>
          <a:prstGeom prst="bentUpArrow">
            <a:avLst>
              <a:gd name="adj1" fmla="val 25000"/>
              <a:gd name="adj2" fmla="val 2589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ctr"/>
          <a:lstStyle/>
          <a:p>
            <a:pPr algn="ctr" defTabSz="914230" fontAlgn="base">
              <a:spcBef>
                <a:spcPct val="0"/>
              </a:spcBef>
              <a:spcAft>
                <a:spcPct val="0"/>
              </a:spcAft>
            </a:pPr>
            <a:endParaRPr lang="en-IN" sz="1799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1941771" y="1950388"/>
            <a:ext cx="9733391" cy="58047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t" anchorCtr="0"/>
          <a:lstStyle/>
          <a:p>
            <a:pPr marL="158390" indent="-158390" defTabSz="91423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1100">
                <a:solidFill>
                  <a:srgbClr val="000000"/>
                </a:solidFill>
              </a:rPr>
              <a:t>Text</a:t>
            </a:r>
          </a:p>
          <a:p>
            <a:pPr marL="158390" indent="-158390" defTabSz="91423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110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3252289" y="2701590"/>
            <a:ext cx="8422873" cy="54620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t" anchorCtr="0"/>
          <a:lstStyle/>
          <a:p>
            <a:pPr marL="158390" indent="-158390" defTabSz="91423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1100">
                <a:solidFill>
                  <a:srgbClr val="000000"/>
                </a:solidFill>
              </a:rPr>
              <a:t> </a:t>
            </a:r>
          </a:p>
          <a:p>
            <a:pPr marL="158390" indent="-158390" defTabSz="91423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endParaRPr lang="en-IN" sz="1100">
              <a:solidFill>
                <a:srgbClr val="000000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4667149" y="3336698"/>
            <a:ext cx="7008014" cy="80751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t" anchorCtr="0"/>
          <a:lstStyle/>
          <a:p>
            <a:pPr marL="158390" indent="-158390" defTabSz="91423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1100">
                <a:solidFill>
                  <a:srgbClr val="000000"/>
                </a:solidFill>
              </a:rPr>
              <a:t>Text 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6061758" y="4354210"/>
            <a:ext cx="5613409" cy="201922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t" anchorCtr="0"/>
          <a:lstStyle/>
          <a:p>
            <a:pPr marL="158390" indent="-158390" defTabSz="91423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1100">
                <a:solidFill>
                  <a:srgbClr val="000000"/>
                </a:solidFill>
              </a:rPr>
              <a:t>Text </a:t>
            </a:r>
          </a:p>
          <a:p>
            <a:pPr marL="158390" indent="-158390" defTabSz="91423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endParaRPr lang="en-IN" sz="1100">
              <a:solidFill>
                <a:srgbClr val="000000"/>
              </a:solidFill>
            </a:endParaRPr>
          </a:p>
        </p:txBody>
      </p:sp>
      <p:sp>
        <p:nvSpPr>
          <p:cNvPr id="26" name="Bent-Up Arrow 25"/>
          <p:cNvSpPr/>
          <p:nvPr userDrawn="1"/>
        </p:nvSpPr>
        <p:spPr>
          <a:xfrm rot="5400000">
            <a:off x="2115655" y="3020743"/>
            <a:ext cx="901433" cy="1360598"/>
          </a:xfrm>
          <a:prstGeom prst="bentUpArrow">
            <a:avLst>
              <a:gd name="adj1" fmla="val 25000"/>
              <a:gd name="adj2" fmla="val 2589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ctr"/>
          <a:lstStyle/>
          <a:p>
            <a:pPr algn="ctr" defTabSz="914230" fontAlgn="base">
              <a:spcBef>
                <a:spcPct val="0"/>
              </a:spcBef>
              <a:spcAft>
                <a:spcPct val="0"/>
              </a:spcAft>
            </a:pPr>
            <a:endParaRPr lang="en-IN" sz="1799">
              <a:solidFill>
                <a:srgbClr val="FFFFFF"/>
              </a:solidFill>
            </a:endParaRPr>
          </a:p>
        </p:txBody>
      </p:sp>
      <p:sp>
        <p:nvSpPr>
          <p:cNvPr id="27" name="Bent-Up Arrow 26"/>
          <p:cNvSpPr/>
          <p:nvPr userDrawn="1"/>
        </p:nvSpPr>
        <p:spPr>
          <a:xfrm rot="5400000">
            <a:off x="847264" y="2207558"/>
            <a:ext cx="717007" cy="1360601"/>
          </a:xfrm>
          <a:prstGeom prst="bentUpArrow">
            <a:avLst>
              <a:gd name="adj1" fmla="val 25000"/>
              <a:gd name="adj2" fmla="val 24912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ctr"/>
          <a:lstStyle/>
          <a:p>
            <a:pPr algn="ctr" defTabSz="914230" fontAlgn="base">
              <a:spcBef>
                <a:spcPct val="0"/>
              </a:spcBef>
              <a:spcAft>
                <a:spcPct val="0"/>
              </a:spcAft>
            </a:pPr>
            <a:endParaRPr lang="en-IN" sz="1799">
              <a:solidFill>
                <a:srgbClr val="FFFFF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525463" y="1950396"/>
            <a:ext cx="1408890" cy="578957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ctr"/>
          <a:lstStyle/>
          <a:p>
            <a:pPr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9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6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876" indent="-179959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055012196"/>
      </p:ext>
    </p:extLst>
  </p:cSld>
  <p:clrMapOvr>
    <a:masterClrMapping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/>
        </p:nvGraphicFramePr>
        <p:xfrm>
          <a:off x="279269" y="1349769"/>
          <a:ext cx="11712395" cy="5061360"/>
        </p:xfrm>
        <a:graphic>
          <a:graphicData uri="http://schemas.openxmlformats.org/drawingml/2006/table">
            <a:tbl>
              <a:tblPr firstRow="1"/>
              <a:tblGrid>
                <a:gridCol w="3534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466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251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8871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IN" sz="14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SN</a:t>
                      </a:r>
                      <a:endParaRPr lang="en-US" sz="14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Area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Progress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Remarks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6187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1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ctr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kern="1200">
                        <a:solidFill>
                          <a:srgbClr val="31A93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037" marR="42037" marT="35900" marB="3590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lvl="0" indent="0" algn="l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>
                        <a:solidFill>
                          <a:srgbClr val="31A93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6187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2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kern="1200">
                        <a:solidFill>
                          <a:srgbClr val="FF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037" marR="42037" marT="35900" marB="3590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3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4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6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7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8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9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10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6" name="Up Arrow 5"/>
          <p:cNvSpPr/>
          <p:nvPr userDrawn="1"/>
        </p:nvSpPr>
        <p:spPr bwMode="auto">
          <a:xfrm>
            <a:off x="6422926" y="1879849"/>
            <a:ext cx="252224" cy="323102"/>
          </a:xfrm>
          <a:prstGeom prst="upArrow">
            <a:avLst/>
          </a:prstGeom>
          <a:solidFill>
            <a:srgbClr val="00B050"/>
          </a:solidFill>
          <a:ln w="19050" cap="flat" cmpd="sng" algn="ctr">
            <a:solidFill>
              <a:srgbClr val="00B05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84479" tIns="42239" rIns="84479" bIns="42239" numCol="1" rtlCol="0" anchor="ctr" anchorCtr="0" compatLnSpc="1">
            <a:prstTxWarp prst="textNoShape">
              <a:avLst/>
            </a:prstTxWarp>
          </a:bodyPr>
          <a:lstStyle/>
          <a:p>
            <a:pPr algn="ctr" defTabSz="844748" fontAlgn="base">
              <a:spcBef>
                <a:spcPct val="0"/>
              </a:spcBef>
              <a:spcAft>
                <a:spcPct val="0"/>
              </a:spcAft>
            </a:pPr>
            <a:endParaRPr lang="en-IN" sz="1700">
              <a:solidFill>
                <a:srgbClr val="000000"/>
              </a:solidFill>
            </a:endParaRPr>
          </a:p>
        </p:txBody>
      </p:sp>
      <p:sp>
        <p:nvSpPr>
          <p:cNvPr id="7" name="Up Arrow 6"/>
          <p:cNvSpPr/>
          <p:nvPr userDrawn="1"/>
        </p:nvSpPr>
        <p:spPr bwMode="auto">
          <a:xfrm>
            <a:off x="6422926" y="2833804"/>
            <a:ext cx="252224" cy="323102"/>
          </a:xfrm>
          <a:prstGeom prst="upArrow">
            <a:avLst/>
          </a:prstGeom>
          <a:solidFill>
            <a:srgbClr val="00B050"/>
          </a:solidFill>
          <a:ln w="19050" cap="flat" cmpd="sng" algn="ctr">
            <a:solidFill>
              <a:srgbClr val="00B05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84479" tIns="42239" rIns="84479" bIns="42239" numCol="1" rtlCol="0" anchor="ctr" anchorCtr="0" compatLnSpc="1">
            <a:prstTxWarp prst="textNoShape">
              <a:avLst/>
            </a:prstTxWarp>
          </a:bodyPr>
          <a:lstStyle/>
          <a:p>
            <a:pPr algn="ctr" defTabSz="844748" fontAlgn="base">
              <a:spcBef>
                <a:spcPct val="0"/>
              </a:spcBef>
              <a:spcAft>
                <a:spcPct val="0"/>
              </a:spcAft>
            </a:pPr>
            <a:endParaRPr lang="en-IN" sz="1700">
              <a:solidFill>
                <a:srgbClr val="000000"/>
              </a:solidFill>
            </a:endParaRPr>
          </a:p>
        </p:txBody>
      </p:sp>
      <p:sp>
        <p:nvSpPr>
          <p:cNvPr id="8" name="Up Arrow 7"/>
          <p:cNvSpPr/>
          <p:nvPr userDrawn="1"/>
        </p:nvSpPr>
        <p:spPr bwMode="auto">
          <a:xfrm flipV="1">
            <a:off x="6422926" y="2384886"/>
            <a:ext cx="252224" cy="323102"/>
          </a:xfrm>
          <a:prstGeom prst="upArrow">
            <a:avLst/>
          </a:prstGeom>
          <a:solidFill>
            <a:srgbClr val="EB5335"/>
          </a:solidFill>
          <a:ln w="19050" cap="flat" cmpd="sng" algn="ctr">
            <a:solidFill>
              <a:srgbClr val="EB5335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84479" tIns="42239" rIns="84479" bIns="42239" numCol="1" rtlCol="0" anchor="ctr" anchorCtr="0" compatLnSpc="1">
            <a:prstTxWarp prst="textNoShape">
              <a:avLst/>
            </a:prstTxWarp>
          </a:bodyPr>
          <a:lstStyle/>
          <a:p>
            <a:pPr algn="ctr" defTabSz="844748" fontAlgn="base">
              <a:spcBef>
                <a:spcPct val="0"/>
              </a:spcBef>
              <a:spcAft>
                <a:spcPct val="0"/>
              </a:spcAft>
            </a:pPr>
            <a:endParaRPr lang="en-IN" sz="1700">
              <a:solidFill>
                <a:srgbClr val="000000"/>
              </a:solidFill>
            </a:endParaRP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6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876" indent="-179959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057359237"/>
      </p:ext>
    </p:extLst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6195" y="1140006"/>
            <a:ext cx="11332606" cy="5121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51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6" name="Oval 25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237296" y="1155192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626195" y="2005565"/>
            <a:ext cx="11332606" cy="5555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51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" name="Oval 26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238509" y="207043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26195" y="2914521"/>
            <a:ext cx="11332606" cy="5710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51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0" name="Oval 26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229070" y="2970600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626195" y="3838963"/>
            <a:ext cx="11332606" cy="5439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51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2" name="Oval 26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247008" y="3874664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626195" y="4736287"/>
            <a:ext cx="11332606" cy="4936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159857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4" name="Oval 263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258278" y="4765994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626195" y="5521901"/>
            <a:ext cx="11332606" cy="4936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159857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6" name="Oval 263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258278" y="555160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471725405"/>
      </p:ext>
    </p:extLst>
  </p:cSld>
  <p:clrMapOvr>
    <a:masterClrMapping/>
  </p:clrMapOvr>
  <p:transition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805499" y="1659045"/>
            <a:ext cx="6126673" cy="6897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51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6" name="Oval 25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513637" y="1772438"/>
            <a:ext cx="546486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805499" y="2524606"/>
            <a:ext cx="6126673" cy="7481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51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" name="Oval 26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14853" y="2673652"/>
            <a:ext cx="546486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5499" y="3433565"/>
            <a:ext cx="6126673" cy="76902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51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0" name="Oval 26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505414" y="3587847"/>
            <a:ext cx="546486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805499" y="4358005"/>
            <a:ext cx="6126673" cy="7325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51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2" name="Oval 26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523354" y="4491910"/>
            <a:ext cx="546486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805499" y="5255339"/>
            <a:ext cx="6126673" cy="66479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51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4" name="Oval 263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485340" y="5341154"/>
            <a:ext cx="546486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9478895" y="1667817"/>
            <a:ext cx="2233504" cy="689739"/>
          </a:xfrm>
          <a:prstGeom prst="rect">
            <a:avLst/>
          </a:prstGeom>
          <a:solidFill>
            <a:srgbClr val="E2FFC5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51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9478895" y="2533378"/>
            <a:ext cx="2233504" cy="748180"/>
          </a:xfrm>
          <a:prstGeom prst="rect">
            <a:avLst/>
          </a:prstGeom>
          <a:solidFill>
            <a:srgbClr val="E2FFC5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51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478895" y="3442338"/>
            <a:ext cx="2233504" cy="769026"/>
          </a:xfrm>
          <a:prstGeom prst="rect">
            <a:avLst/>
          </a:prstGeom>
          <a:solidFill>
            <a:srgbClr val="E2FFC5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51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9478895" y="4366781"/>
            <a:ext cx="2233504" cy="732512"/>
          </a:xfrm>
          <a:prstGeom prst="rect">
            <a:avLst/>
          </a:prstGeom>
          <a:solidFill>
            <a:srgbClr val="E2FFC5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51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9478895" y="5264115"/>
            <a:ext cx="2233504" cy="664795"/>
          </a:xfrm>
          <a:prstGeom prst="rect">
            <a:avLst/>
          </a:prstGeom>
          <a:solidFill>
            <a:srgbClr val="E2FFC5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159857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7096987" y="1667817"/>
            <a:ext cx="2233504" cy="689739"/>
          </a:xfrm>
          <a:prstGeom prst="rect">
            <a:avLst/>
          </a:prstGeom>
          <a:solidFill>
            <a:srgbClr val="F8D9FF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51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7096987" y="2533378"/>
            <a:ext cx="2233504" cy="748180"/>
          </a:xfrm>
          <a:prstGeom prst="rect">
            <a:avLst/>
          </a:prstGeom>
          <a:solidFill>
            <a:srgbClr val="F8D9FF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51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7096987" y="3442338"/>
            <a:ext cx="2233504" cy="769026"/>
          </a:xfrm>
          <a:prstGeom prst="rect">
            <a:avLst/>
          </a:prstGeom>
          <a:solidFill>
            <a:srgbClr val="F8D9FF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51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7096987" y="4366781"/>
            <a:ext cx="2233504" cy="732512"/>
          </a:xfrm>
          <a:prstGeom prst="rect">
            <a:avLst/>
          </a:prstGeom>
          <a:solidFill>
            <a:srgbClr val="F8D9FF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51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7096987" y="5264115"/>
            <a:ext cx="2233504" cy="664795"/>
          </a:xfrm>
          <a:prstGeom prst="rect">
            <a:avLst/>
          </a:prstGeom>
          <a:solidFill>
            <a:srgbClr val="F8D9FF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51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7409361" y="1306400"/>
            <a:ext cx="1252635" cy="321521"/>
          </a:xfrm>
          <a:prstGeom prst="rect">
            <a:avLst/>
          </a:prstGeom>
          <a:noFill/>
        </p:spPr>
        <p:txBody>
          <a:bodyPr wrap="none" lIns="84479" tIns="42239" rIns="84479" bIns="42239" rtlCol="0">
            <a:spAutoFit/>
          </a:bodyPr>
          <a:lstStyle/>
          <a:p>
            <a:pPr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Description</a:t>
            </a:r>
            <a:endParaRPr lang="en-US" sz="1500" b="1">
              <a:solidFill>
                <a:srgbClr val="000000"/>
              </a:solidFill>
            </a:endParaRPr>
          </a:p>
        </p:txBody>
      </p:sp>
      <p:sp>
        <p:nvSpPr>
          <p:cNvPr id="26" name="TextBox 25"/>
          <p:cNvSpPr txBox="1"/>
          <p:nvPr userDrawn="1"/>
        </p:nvSpPr>
        <p:spPr>
          <a:xfrm>
            <a:off x="9796356" y="1290680"/>
            <a:ext cx="1252635" cy="321521"/>
          </a:xfrm>
          <a:prstGeom prst="rect">
            <a:avLst/>
          </a:prstGeom>
          <a:noFill/>
        </p:spPr>
        <p:txBody>
          <a:bodyPr wrap="none" lIns="84479" tIns="42239" rIns="84479" bIns="42239" rtlCol="0">
            <a:spAutoFit/>
          </a:bodyPr>
          <a:lstStyle/>
          <a:p>
            <a:pPr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Description</a:t>
            </a:r>
            <a:endParaRPr lang="en-US" sz="1500" b="1">
              <a:solidFill>
                <a:srgbClr val="000000"/>
              </a:solidFill>
            </a:endParaRPr>
          </a:p>
        </p:txBody>
      </p:sp>
      <p:sp>
        <p:nvSpPr>
          <p:cNvPr id="27" name="TextBox 26"/>
          <p:cNvSpPr txBox="1"/>
          <p:nvPr userDrawn="1"/>
        </p:nvSpPr>
        <p:spPr>
          <a:xfrm>
            <a:off x="805491" y="1306433"/>
            <a:ext cx="1252635" cy="321521"/>
          </a:xfrm>
          <a:prstGeom prst="rect">
            <a:avLst/>
          </a:prstGeom>
          <a:noFill/>
        </p:spPr>
        <p:txBody>
          <a:bodyPr wrap="none" lIns="84479" tIns="42239" rIns="84479" bIns="42239" rtlCol="0">
            <a:spAutoFit/>
          </a:bodyPr>
          <a:lstStyle/>
          <a:p>
            <a:pPr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Description</a:t>
            </a:r>
            <a:endParaRPr lang="en-US" sz="1500" b="1">
              <a:solidFill>
                <a:srgbClr val="000000"/>
              </a:solidFill>
            </a:endParaRPr>
          </a:p>
        </p:txBody>
      </p:sp>
      <p:sp>
        <p:nvSpPr>
          <p:cNvPr id="28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6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876" indent="-179959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247239595"/>
      </p:ext>
    </p:extLst>
  </p:cSld>
  <p:clrMapOvr>
    <a:masterClrMapping/>
  </p:clrMapOvr>
  <p:transition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aphicFrame>
        <p:nvGraphicFramePr>
          <p:cNvPr id="5" name="Content Placeholder 3"/>
          <p:cNvGraphicFramePr>
            <a:graphicFrameLocks/>
          </p:cNvGraphicFramePr>
          <p:nvPr userDrawn="1"/>
        </p:nvGraphicFramePr>
        <p:xfrm>
          <a:off x="525664" y="1463065"/>
          <a:ext cx="11153881" cy="5183727"/>
        </p:xfrm>
        <a:graphic>
          <a:graphicData uri="http://schemas.openxmlformats.org/drawingml/2006/table">
            <a:tbl>
              <a:tblPr firstRow="1" bandRow="1"/>
              <a:tblGrid>
                <a:gridCol w="5256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98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2483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5916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SN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Particulars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Remarks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4461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1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endParaRPr lang="en-US" sz="1400" baseline="0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226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2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6669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3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0113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4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6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876" indent="-179959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918924267"/>
      </p:ext>
    </p:extLst>
  </p:cSld>
  <p:clrMapOvr>
    <a:masterClrMapping/>
  </p:clrMapOvr>
  <p:transition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/>
        </p:nvGraphicFramePr>
        <p:xfrm>
          <a:off x="525666" y="1401715"/>
          <a:ext cx="11137454" cy="2348293"/>
        </p:xfrm>
        <a:graphic>
          <a:graphicData uri="http://schemas.openxmlformats.org/drawingml/2006/table">
            <a:tbl>
              <a:tblPr/>
              <a:tblGrid>
                <a:gridCol w="20236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39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677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20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633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7986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6343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71044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75259">
                <a:tc>
                  <a:txBody>
                    <a:bodyPr/>
                    <a:lstStyle/>
                    <a:p>
                      <a:pPr algn="ctr" fontAlgn="b"/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oM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Change Q/Q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Change Y/Y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marks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6" name="Group 5"/>
          <p:cNvGrpSpPr/>
          <p:nvPr userDrawn="1"/>
        </p:nvGrpSpPr>
        <p:grpSpPr>
          <a:xfrm>
            <a:off x="530983" y="4193069"/>
            <a:ext cx="11148564" cy="2232086"/>
            <a:chOff x="123367" y="5147491"/>
            <a:chExt cx="8864071" cy="1583827"/>
          </a:xfrm>
        </p:grpSpPr>
        <p:sp>
          <p:nvSpPr>
            <p:cNvPr id="7" name="Tijdelijke aanduiding voor verticale tekst 24"/>
            <p:cNvSpPr txBox="1">
              <a:spLocks/>
            </p:cNvSpPr>
            <p:nvPr/>
          </p:nvSpPr>
          <p:spPr>
            <a:xfrm>
              <a:off x="123367" y="5405493"/>
              <a:ext cx="8864069" cy="1325825"/>
            </a:xfrm>
            <a:prstGeom prst="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 vert="horz" lIns="91440" tIns="45720" rIns="91440" bIns="45720" rtlCol="0">
              <a:norm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5598" lvl="1" fontAlgn="base">
                <a:spcAft>
                  <a:spcPct val="0"/>
                </a:spcAft>
                <a:buFont typeface="Wingdings" pitchFamily="2" charset="2"/>
                <a:buChar char="§"/>
              </a:pPr>
              <a:r>
                <a:rPr lang="en-GB" sz="1300">
                  <a:solidFill>
                    <a:srgbClr val="000000"/>
                  </a:solidFill>
                </a:rPr>
                <a:t>Text</a:t>
              </a:r>
              <a:endParaRPr lang="en-GB" sz="1100">
                <a:solidFill>
                  <a:srgbClr val="000000"/>
                </a:solidFill>
              </a:endParaRPr>
            </a:p>
          </p:txBody>
        </p:sp>
        <p:sp>
          <p:nvSpPr>
            <p:cNvPr id="8" name="Tijdelijke aanduiding voor verticale tekst 25"/>
            <p:cNvSpPr txBox="1">
              <a:spLocks/>
            </p:cNvSpPr>
            <p:nvPr/>
          </p:nvSpPr>
          <p:spPr>
            <a:xfrm>
              <a:off x="123368" y="5147491"/>
              <a:ext cx="8864070" cy="258002"/>
            </a:xfrm>
            <a:prstGeom prst="rect">
              <a:avLst/>
            </a:prstGeom>
            <a:solidFill>
              <a:schemeClr val="accent6">
                <a:lumMod val="10000"/>
                <a:lumOff val="90000"/>
              </a:schemeClr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 vert="horz" wrap="none" lIns="180000" tIns="72000" rIns="216000" bIns="4572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3"/>
                </a:buClr>
                <a:buFont typeface="Wingdings" panose="05000000000000000000" pitchFamily="2" charset="2"/>
                <a:buNone/>
                <a:defRPr sz="1800" b="1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177800" indent="-17780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5600" indent="-17780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3400" indent="-174625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725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i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563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5600" indent="-173038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tabLst/>
                <a:defRPr sz="16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8163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81917" fontAlgn="base">
                <a:lnSpc>
                  <a:spcPts val="1736"/>
                </a:lnSpc>
                <a:spcBef>
                  <a:spcPts val="578"/>
                </a:spcBef>
                <a:spcAft>
                  <a:spcPts val="578"/>
                </a:spcAft>
                <a:buClr>
                  <a:srgbClr val="FFA100"/>
                </a:buClr>
                <a:defRPr/>
              </a:pPr>
              <a:r>
                <a:rPr lang="en-US" sz="1500">
                  <a:solidFill>
                    <a:srgbClr val="000000"/>
                  </a:solidFill>
                </a:rPr>
                <a:t>Highlights</a:t>
              </a:r>
            </a:p>
          </p:txBody>
        </p:sp>
      </p:grpSp>
      <p:graphicFrame>
        <p:nvGraphicFramePr>
          <p:cNvPr id="9" name="Table 8"/>
          <p:cNvGraphicFramePr>
            <a:graphicFrameLocks noGrp="1"/>
          </p:cNvGraphicFramePr>
          <p:nvPr userDrawn="1"/>
        </p:nvGraphicFramePr>
        <p:xfrm>
          <a:off x="503756" y="3858781"/>
          <a:ext cx="11175785" cy="219415"/>
        </p:xfrm>
        <a:graphic>
          <a:graphicData uri="http://schemas.openxmlformats.org/drawingml/2006/table">
            <a:tbl>
              <a:tblPr/>
              <a:tblGrid>
                <a:gridCol w="27939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939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753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1252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941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ey</a:t>
                      </a:r>
                    </a:p>
                  </a:txBody>
                  <a:tcPr marL="11826" marR="11826" marT="967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11826" marR="11826" marT="96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11826" marR="11826" marT="96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6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11826" marR="11826" marT="9674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0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6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876" indent="-179959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567003205"/>
      </p:ext>
    </p:extLst>
  </p:cSld>
  <p:clrMapOvr>
    <a:masterClrMapping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Pentagon 4"/>
          <p:cNvSpPr/>
          <p:nvPr userDrawn="1"/>
        </p:nvSpPr>
        <p:spPr bwMode="auto">
          <a:xfrm>
            <a:off x="6012259" y="1599272"/>
            <a:ext cx="5913697" cy="4966170"/>
          </a:xfrm>
          <a:prstGeom prst="homePlate">
            <a:avLst>
              <a:gd name="adj" fmla="val 507"/>
            </a:avLst>
          </a:prstGeom>
          <a:solidFill>
            <a:schemeClr val="bg1"/>
          </a:solidFill>
          <a:ln w="3810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66297" tIns="166297" rIns="166297" bIns="166297" numCol="1" rtlCol="0" anchor="t" anchorCtr="0" compatLnSpc="1">
            <a:prstTxWarp prst="textNoShape">
              <a:avLst/>
            </a:prstTxWarp>
          </a:bodyPr>
          <a:lstStyle/>
          <a:p>
            <a:pPr defTabSz="844748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  <a:endParaRPr lang="en-IN" sz="1700" b="1">
              <a:solidFill>
                <a:srgbClr val="000000"/>
              </a:solidFill>
            </a:endParaRPr>
          </a:p>
          <a:p>
            <a:pPr marL="420907" indent="-263985" defTabSz="84474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1500">
                <a:solidFill>
                  <a:srgbClr val="000000"/>
                </a:solidFill>
              </a:rPr>
              <a:t>Text</a:t>
            </a:r>
          </a:p>
          <a:p>
            <a:pPr marL="420907" indent="-263985" defTabSz="84474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1500">
                <a:solidFill>
                  <a:srgbClr val="000000"/>
                </a:solidFill>
              </a:rPr>
              <a:t>Text</a:t>
            </a:r>
            <a:endParaRPr lang="en-IN" sz="1500" b="1">
              <a:solidFill>
                <a:srgbClr val="000000"/>
              </a:solidFill>
            </a:endParaRPr>
          </a:p>
        </p:txBody>
      </p:sp>
      <p:sp>
        <p:nvSpPr>
          <p:cNvPr id="6" name="Pentagon 5"/>
          <p:cNvSpPr/>
          <p:nvPr userDrawn="1"/>
        </p:nvSpPr>
        <p:spPr bwMode="auto">
          <a:xfrm>
            <a:off x="312107" y="1599272"/>
            <a:ext cx="5946545" cy="4966170"/>
          </a:xfrm>
          <a:prstGeom prst="homePlate">
            <a:avLst>
              <a:gd name="adj" fmla="val 8913"/>
            </a:avLst>
          </a:prstGeom>
          <a:solidFill>
            <a:schemeClr val="tx2">
              <a:lumMod val="20000"/>
              <a:lumOff val="80000"/>
            </a:schemeClr>
          </a:solidFill>
          <a:ln w="2857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66297" tIns="166297" rIns="166297" bIns="166297" numCol="1" rtlCol="0" anchor="t" anchorCtr="0" compatLnSpc="1">
            <a:prstTxWarp prst="textNoShape">
              <a:avLst/>
            </a:prstTxWarp>
          </a:bodyPr>
          <a:lstStyle/>
          <a:p>
            <a:pPr defTabSz="844748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  <a:endParaRPr lang="en-IN" sz="1700" b="1">
              <a:solidFill>
                <a:srgbClr val="000000"/>
              </a:solidFill>
            </a:endParaRPr>
          </a:p>
          <a:p>
            <a:pPr marL="420907" indent="-263985" defTabSz="84474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1500">
                <a:solidFill>
                  <a:srgbClr val="000000"/>
                </a:solidFill>
              </a:rPr>
              <a:t>Text</a:t>
            </a:r>
          </a:p>
          <a:p>
            <a:pPr marL="420907" indent="-263985" defTabSz="84474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150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91235" y="1106965"/>
            <a:ext cx="11634721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568749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8" y="167389"/>
            <a:ext cx="670982" cy="215900"/>
          </a:xfrm>
          <a:prstGeom prst="rect">
            <a:avLst/>
          </a:prstGeom>
        </p:spPr>
        <p:txBody>
          <a:bodyPr lIns="91436" tIns="45718" rIns="91436" bIns="45718"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Pentagon 4"/>
          <p:cNvSpPr/>
          <p:nvPr userDrawn="1"/>
        </p:nvSpPr>
        <p:spPr bwMode="auto">
          <a:xfrm>
            <a:off x="6012268" y="1599272"/>
            <a:ext cx="5913697" cy="4966170"/>
          </a:xfrm>
          <a:prstGeom prst="homePlate">
            <a:avLst>
              <a:gd name="adj" fmla="val 507"/>
            </a:avLst>
          </a:prstGeom>
          <a:solidFill>
            <a:schemeClr val="bg1"/>
          </a:solidFill>
          <a:ln w="3810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66290" tIns="166290" rIns="166290" bIns="166290" numCol="1" rtlCol="0" anchor="t" anchorCtr="0" compatLnSpc="1">
            <a:prstTxWarp prst="textNoShape">
              <a:avLst/>
            </a:prstTxWarp>
          </a:bodyPr>
          <a:lstStyle/>
          <a:p>
            <a:pPr defTabSz="844748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  <a:endParaRPr lang="en-IN" sz="1700" b="1">
              <a:solidFill>
                <a:srgbClr val="000000"/>
              </a:solidFill>
            </a:endParaRPr>
          </a:p>
          <a:p>
            <a:pPr marL="420907" indent="-263985" defTabSz="84474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1500">
                <a:solidFill>
                  <a:srgbClr val="000000"/>
                </a:solidFill>
              </a:rPr>
              <a:t>Text</a:t>
            </a:r>
          </a:p>
          <a:p>
            <a:pPr marL="420907" indent="-263985" defTabSz="84474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1500">
                <a:solidFill>
                  <a:srgbClr val="000000"/>
                </a:solidFill>
              </a:rPr>
              <a:t>Text</a:t>
            </a:r>
            <a:endParaRPr lang="en-IN" sz="1500" b="1">
              <a:solidFill>
                <a:srgbClr val="000000"/>
              </a:solidFill>
            </a:endParaRPr>
          </a:p>
        </p:txBody>
      </p:sp>
      <p:sp>
        <p:nvSpPr>
          <p:cNvPr id="6" name="Pentagon 5"/>
          <p:cNvSpPr/>
          <p:nvPr userDrawn="1"/>
        </p:nvSpPr>
        <p:spPr bwMode="auto">
          <a:xfrm>
            <a:off x="312105" y="1599272"/>
            <a:ext cx="5946545" cy="4966170"/>
          </a:xfrm>
          <a:prstGeom prst="homePlate">
            <a:avLst>
              <a:gd name="adj" fmla="val 8913"/>
            </a:avLst>
          </a:prstGeom>
          <a:solidFill>
            <a:schemeClr val="tx2">
              <a:lumMod val="20000"/>
              <a:lumOff val="80000"/>
            </a:schemeClr>
          </a:solidFill>
          <a:ln w="2857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66290" tIns="166290" rIns="166290" bIns="166290" numCol="1" rtlCol="0" anchor="t" anchorCtr="0" compatLnSpc="1">
            <a:prstTxWarp prst="textNoShape">
              <a:avLst/>
            </a:prstTxWarp>
          </a:bodyPr>
          <a:lstStyle/>
          <a:p>
            <a:pPr defTabSz="844748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  <a:endParaRPr lang="en-IN" sz="1700" b="1">
              <a:solidFill>
                <a:srgbClr val="000000"/>
              </a:solidFill>
            </a:endParaRPr>
          </a:p>
          <a:p>
            <a:pPr marL="420907" indent="-263985" defTabSz="84474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1500">
                <a:solidFill>
                  <a:srgbClr val="000000"/>
                </a:solidFill>
              </a:rPr>
              <a:t>Text</a:t>
            </a:r>
          </a:p>
          <a:p>
            <a:pPr marL="420907" indent="-263985" defTabSz="84474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150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91244" y="1106982"/>
            <a:ext cx="11634721" cy="369888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769789"/>
      </p:ext>
    </p:extLst>
  </p:cSld>
  <p:clrMapOvr>
    <a:masterClrMapping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aphicFrame>
        <p:nvGraphicFramePr>
          <p:cNvPr id="5" name="Diagram 4"/>
          <p:cNvGraphicFramePr/>
          <p:nvPr userDrawn="1"/>
        </p:nvGraphicFramePr>
        <p:xfrm>
          <a:off x="537156" y="1585251"/>
          <a:ext cx="6444292" cy="46715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6981450" y="3194478"/>
            <a:ext cx="4714527" cy="1008627"/>
          </a:xfrm>
          <a:prstGeom prst="rect">
            <a:avLst/>
          </a:prstGeom>
          <a:noFill/>
          <a:ln>
            <a:noFill/>
          </a:ln>
        </p:spPr>
        <p:txBody>
          <a:bodyPr wrap="square" lIns="84469" tIns="42236" rIns="84469" bIns="42236" rtlCol="0">
            <a:spAutoFit/>
          </a:bodyPr>
          <a:lstStyle/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TEXT</a:t>
            </a:r>
          </a:p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6981450" y="1567144"/>
            <a:ext cx="4714527" cy="1008627"/>
          </a:xfrm>
          <a:prstGeom prst="rect">
            <a:avLst/>
          </a:prstGeom>
          <a:noFill/>
          <a:ln>
            <a:noFill/>
          </a:ln>
        </p:spPr>
        <p:txBody>
          <a:bodyPr wrap="square" lIns="84469" tIns="42236" rIns="84469" bIns="42236" rtlCol="0">
            <a:spAutoFit/>
          </a:bodyPr>
          <a:lstStyle/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TEXT</a:t>
            </a:r>
          </a:p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6981450" y="4821812"/>
            <a:ext cx="4714527" cy="1008627"/>
          </a:xfrm>
          <a:prstGeom prst="rect">
            <a:avLst/>
          </a:prstGeom>
          <a:noFill/>
          <a:ln>
            <a:noFill/>
          </a:ln>
        </p:spPr>
        <p:txBody>
          <a:bodyPr wrap="square" lIns="84469" tIns="42236" rIns="84469" bIns="42236" rtlCol="0">
            <a:spAutoFit/>
          </a:bodyPr>
          <a:lstStyle/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TEXT</a:t>
            </a:r>
          </a:p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6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876" indent="-179959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545993707"/>
      </p:ext>
    </p:extLst>
  </p:cSld>
  <p:clrMapOvr>
    <a:masterClrMapping/>
  </p:clrMapOvr>
  <p:transition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50590" y="1494336"/>
            <a:ext cx="2942619" cy="2513019"/>
          </a:xfrm>
          <a:prstGeom prst="rect">
            <a:avLst/>
          </a:prstGeom>
          <a:solidFill>
            <a:srgbClr val="E2FFC5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51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632792" y="1503197"/>
            <a:ext cx="2942619" cy="2513019"/>
          </a:xfrm>
          <a:prstGeom prst="rect">
            <a:avLst/>
          </a:prstGeom>
          <a:solidFill>
            <a:srgbClr val="E2FFC5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51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550590" y="4119598"/>
            <a:ext cx="2942619" cy="2513019"/>
          </a:xfrm>
          <a:prstGeom prst="rect">
            <a:avLst/>
          </a:prstGeom>
          <a:solidFill>
            <a:srgbClr val="E2FFC5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51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" name="Rectangle 7"/>
          <p:cNvSpPr/>
          <p:nvPr userDrawn="1"/>
        </p:nvSpPr>
        <p:spPr>
          <a:xfrm rot="425343">
            <a:off x="3775783" y="4199614"/>
            <a:ext cx="2858543" cy="244121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51" algn="just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6981450" y="1482971"/>
            <a:ext cx="4714527" cy="1008627"/>
          </a:xfrm>
          <a:prstGeom prst="rect">
            <a:avLst/>
          </a:prstGeom>
          <a:noFill/>
          <a:ln>
            <a:noFill/>
          </a:ln>
        </p:spPr>
        <p:txBody>
          <a:bodyPr wrap="square" lIns="84469" tIns="42236" rIns="84469" bIns="42236" rtlCol="0">
            <a:spAutoFit/>
          </a:bodyPr>
          <a:lstStyle/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TEXT</a:t>
            </a:r>
          </a:p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54" indent="-263954" defTabSz="844659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10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6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876" indent="-179959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226651696"/>
      </p:ext>
    </p:extLst>
  </p:cSld>
  <p:clrMapOvr>
    <a:masterClrMapping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80695" y="1646880"/>
            <a:ext cx="3789566" cy="3590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195" tIns="44098" rIns="88195" bIns="44098" rtlCol="0" anchor="ctr"/>
          <a:lstStyle/>
          <a:p>
            <a:pPr algn="ctr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Description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017940" y="1632855"/>
            <a:ext cx="0" cy="5026039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8080331" y="1646886"/>
            <a:ext cx="0" cy="5026039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152450" y="3886919"/>
            <a:ext cx="3789562" cy="8338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88195" tIns="44098" rIns="88195" bIns="44098">
            <a:spAutoFit/>
          </a:bodyPr>
          <a:lstStyle/>
          <a:p>
            <a:pPr marL="91866" indent="-91866" defTabSz="91423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100">
                <a:solidFill>
                  <a:srgbClr val="000000"/>
                </a:solidFill>
              </a:rPr>
              <a:t>Text</a:t>
            </a:r>
          </a:p>
          <a:p>
            <a:pPr marL="91866" indent="-91866" defTabSz="91423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66" indent="-91866" defTabSz="91423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66" indent="-91866" defTabSz="91423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80697" y="3385237"/>
            <a:ext cx="11764448" cy="3590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195" tIns="44098" rIns="88195" bIns="44098" rtlCol="0" anchor="ctr"/>
          <a:lstStyle/>
          <a:p>
            <a:pPr algn="ctr" defTabSz="914230" fontAlgn="base">
              <a:spcBef>
                <a:spcPct val="0"/>
              </a:spcBef>
              <a:spcAft>
                <a:spcPct val="0"/>
              </a:spcAft>
              <a:buClr>
                <a:srgbClr val="3D7EDB"/>
              </a:buClr>
            </a:pPr>
            <a:r>
              <a:rPr lang="en-GB" sz="1500" b="1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164275" y="2073270"/>
            <a:ext cx="3789562" cy="8338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88195" tIns="44098" rIns="88195" bIns="44098">
            <a:spAutoFit/>
          </a:bodyPr>
          <a:lstStyle/>
          <a:p>
            <a:pPr marL="91866" indent="-91866" defTabSz="91423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100">
                <a:solidFill>
                  <a:srgbClr val="000000"/>
                </a:solidFill>
              </a:rPr>
              <a:t>Text</a:t>
            </a:r>
          </a:p>
          <a:p>
            <a:pPr marL="91866" indent="-91866" defTabSz="91423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66" indent="-91866" defTabSz="91423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66" indent="-91866" defTabSz="91423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4100077" y="1646880"/>
            <a:ext cx="3938430" cy="3590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195" tIns="44098" rIns="88195" bIns="44098" rtlCol="0" anchor="ctr"/>
          <a:lstStyle/>
          <a:p>
            <a:pPr algn="ctr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4071831" y="3886919"/>
            <a:ext cx="3938427" cy="8338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88195" tIns="44098" rIns="88195" bIns="44098">
            <a:spAutoFit/>
          </a:bodyPr>
          <a:lstStyle/>
          <a:p>
            <a:pPr marL="91866" indent="-91866" defTabSz="91423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100">
                <a:solidFill>
                  <a:srgbClr val="000000"/>
                </a:solidFill>
              </a:rPr>
              <a:t>Text</a:t>
            </a:r>
          </a:p>
          <a:p>
            <a:pPr marL="91866" indent="-91866" defTabSz="91423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66" indent="-91866" defTabSz="91423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66" indent="-91866" defTabSz="91423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4083656" y="2073270"/>
            <a:ext cx="3938427" cy="8338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88195" tIns="44098" rIns="88195" bIns="44098">
            <a:spAutoFit/>
          </a:bodyPr>
          <a:lstStyle/>
          <a:p>
            <a:pPr marL="91866" indent="-91866" defTabSz="91423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100">
                <a:solidFill>
                  <a:srgbClr val="000000"/>
                </a:solidFill>
              </a:rPr>
              <a:t>Text</a:t>
            </a:r>
          </a:p>
          <a:p>
            <a:pPr marL="91866" indent="-91866" defTabSz="91423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66" indent="-91866" defTabSz="91423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66" indent="-91866" defTabSz="91423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8183834" y="1646880"/>
            <a:ext cx="3789566" cy="3590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195" tIns="44098" rIns="88195" bIns="44098" rtlCol="0" anchor="ctr"/>
          <a:lstStyle/>
          <a:p>
            <a:pPr algn="ctr" defTabSz="914230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8155591" y="3886919"/>
            <a:ext cx="3789562" cy="8338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88195" tIns="44098" rIns="88195" bIns="44098">
            <a:spAutoFit/>
          </a:bodyPr>
          <a:lstStyle/>
          <a:p>
            <a:pPr marL="91866" indent="-91866" defTabSz="91423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100">
                <a:solidFill>
                  <a:srgbClr val="000000"/>
                </a:solidFill>
              </a:rPr>
              <a:t>Text</a:t>
            </a:r>
          </a:p>
          <a:p>
            <a:pPr marL="91866" indent="-91866" defTabSz="91423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66" indent="-91866" defTabSz="91423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66" indent="-91866" defTabSz="91423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8167407" y="2073270"/>
            <a:ext cx="3789562" cy="8338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88195" tIns="44098" rIns="88195" bIns="44098">
            <a:spAutoFit/>
          </a:bodyPr>
          <a:lstStyle/>
          <a:p>
            <a:pPr marL="91866" indent="-91866" defTabSz="91423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100">
                <a:solidFill>
                  <a:srgbClr val="000000"/>
                </a:solidFill>
              </a:rPr>
              <a:t>Text</a:t>
            </a:r>
          </a:p>
          <a:p>
            <a:pPr marL="91866" indent="-91866" defTabSz="91423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66" indent="-91866" defTabSz="91423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66" indent="-91866" defTabSz="91423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24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6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876" indent="-179959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8409018"/>
      </p:ext>
    </p:extLst>
  </p:cSld>
  <p:clrMapOvr>
    <a:masterClrMapping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gray">
          <a:xfrm>
            <a:off x="393916" y="1285708"/>
            <a:ext cx="11334393" cy="4667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marL="316780" indent="-316780" defTabSz="914230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  <a:endParaRPr lang="en-IN" sz="1500" noProof="1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gray">
          <a:xfrm>
            <a:off x="393916" y="1921838"/>
            <a:ext cx="11334393" cy="46670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3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>
              <a:solidFill>
                <a:srgbClr val="000000"/>
              </a:solidFill>
            </a:endParaRPr>
          </a:p>
          <a:p>
            <a:pPr marL="316780" indent="-316780" defTabSz="914230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2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</a:p>
          <a:p>
            <a:pPr defTabSz="91423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 noProof="1">
              <a:solidFill>
                <a:srgbClr val="000000"/>
              </a:solidFill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gray">
          <a:xfrm>
            <a:off x="393916" y="2557967"/>
            <a:ext cx="11334393" cy="4667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3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>
              <a:solidFill>
                <a:srgbClr val="000000"/>
              </a:solidFill>
            </a:endParaRPr>
          </a:p>
          <a:p>
            <a:pPr marL="316780" indent="-316780" defTabSz="914230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3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</a:p>
          <a:p>
            <a:pPr defTabSz="91423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 noProof="1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gray">
          <a:xfrm>
            <a:off x="393916" y="3830224"/>
            <a:ext cx="11334393" cy="4667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3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>
              <a:solidFill>
                <a:srgbClr val="000000"/>
              </a:solidFill>
            </a:endParaRPr>
          </a:p>
          <a:p>
            <a:pPr marL="316780" indent="-316780" defTabSz="914230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5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</a:p>
          <a:p>
            <a:pPr defTabSz="91423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 noProof="1">
              <a:solidFill>
                <a:srgbClr val="000000"/>
              </a:solidFill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gray">
          <a:xfrm>
            <a:off x="393916" y="3194095"/>
            <a:ext cx="11334393" cy="46670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marL="316780" indent="-316780" defTabSz="914230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4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  <a:endParaRPr lang="en-US" sz="1500" noProof="1">
              <a:solidFill>
                <a:srgbClr val="000000"/>
              </a:solidFill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gray">
          <a:xfrm>
            <a:off x="393916" y="4466354"/>
            <a:ext cx="11334393" cy="46670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marL="316780" indent="-316780" defTabSz="914230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6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  <a:endParaRPr lang="en-US" sz="1500" noProof="1">
              <a:solidFill>
                <a:srgbClr val="000000"/>
              </a:solidFill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gray">
          <a:xfrm>
            <a:off x="393916" y="5102480"/>
            <a:ext cx="11334393" cy="4667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3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>
              <a:solidFill>
                <a:srgbClr val="000000"/>
              </a:solidFill>
            </a:endParaRPr>
          </a:p>
          <a:p>
            <a:pPr marL="316780" indent="-316780" defTabSz="914230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7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</a:p>
          <a:p>
            <a:pPr defTabSz="91423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435562"/>
      </p:ext>
    </p:extLst>
  </p:cSld>
  <p:clrMapOvr>
    <a:masterClrMapping/>
  </p:clrMapOvr>
  <p:transition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12" name="Content Placeholder 22"/>
          <p:cNvSpPr>
            <a:spLocks noGrp="1"/>
          </p:cNvSpPr>
          <p:nvPr userDrawn="1"/>
        </p:nvSpPr>
        <p:spPr bwMode="auto">
          <a:xfrm>
            <a:off x="1911837" y="1434892"/>
            <a:ext cx="9644294" cy="1003266"/>
          </a:xfrm>
          <a:prstGeom prst="rect">
            <a:avLst/>
          </a:prstGeom>
          <a:solidFill>
            <a:srgbClr val="00B0F0">
              <a:lumMod val="20000"/>
              <a:lumOff val="80000"/>
            </a:srgbClr>
          </a:solidFill>
          <a:ln w="12700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337914" tIns="42239" rIns="42239" bIns="42239" numCol="1" anchor="ctr" anchorCtr="0" compatLnSpc="1">
            <a:prstTxWarp prst="textNoShape">
              <a:avLst/>
            </a:prstTxWarp>
          </a:bodyPr>
          <a:lstStyle>
            <a:lvl1pPr marL="228600" indent="-228600" algn="l" defTabSz="1019175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4080"/>
              </a:buClr>
              <a:buSzPct val="90000"/>
              <a:buFont typeface="Wingdings" pitchFamily="2" charset="2"/>
              <a:buChar char="n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90525" indent="-142875" algn="l" defTabSz="1019175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Arial" pitchFamily="34" charset="0"/>
              <a:buChar char="–"/>
              <a:defRPr sz="1100">
                <a:solidFill>
                  <a:srgbClr val="000000"/>
                </a:solidFill>
                <a:latin typeface="+mn-lt"/>
              </a:defRPr>
            </a:lvl2pPr>
            <a:lvl3pPr marL="504825" indent="-104775" algn="l" defTabSz="1019175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3pPr>
            <a:lvl4pPr marL="904875" indent="-212725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4pPr>
            <a:lvl5pPr marL="11477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5pPr>
            <a:lvl6pPr marL="16049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6pPr>
            <a:lvl7pPr marL="20621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7pPr>
            <a:lvl8pPr marL="25193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8pPr>
            <a:lvl9pPr marL="29765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211186" indent="-211186" defTabSz="941542">
              <a:spcBef>
                <a:spcPts val="554"/>
              </a:spcBef>
              <a:defRPr/>
            </a:pPr>
            <a:r>
              <a:rPr lang="en-US" sz="1300" kern="0"/>
              <a:t>Sample 1</a:t>
            </a:r>
          </a:p>
          <a:p>
            <a:pPr marL="360778" lvl="1" indent="-131992" defTabSz="941542">
              <a:spcBef>
                <a:spcPts val="370"/>
              </a:spcBef>
              <a:defRPr/>
            </a:pPr>
            <a:r>
              <a:rPr lang="en-US" sz="1300" kern="0"/>
              <a:t>Sample 2</a:t>
            </a:r>
          </a:p>
          <a:p>
            <a:pPr marL="466371" lvl="2" indent="-96793" defTabSz="941542">
              <a:spcBef>
                <a:spcPts val="185"/>
              </a:spcBef>
              <a:defRPr/>
            </a:pPr>
            <a:r>
              <a:rPr lang="en-US" sz="1300" kern="0"/>
              <a:t>Sample 3</a:t>
            </a:r>
          </a:p>
        </p:txBody>
      </p:sp>
      <p:sp>
        <p:nvSpPr>
          <p:cNvPr id="14" name="Oval 13"/>
          <p:cNvSpPr/>
          <p:nvPr userDrawn="1"/>
        </p:nvSpPr>
        <p:spPr>
          <a:xfrm>
            <a:off x="949113" y="1372657"/>
            <a:ext cx="1326457" cy="1135163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84479" tIns="42239" rIns="84479" bIns="42239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748">
              <a:defRPr/>
            </a:pPr>
            <a:r>
              <a:rPr lang="en-US" sz="1300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7" name="Content Placeholder 22"/>
          <p:cNvSpPr>
            <a:spLocks noGrp="1"/>
          </p:cNvSpPr>
          <p:nvPr userDrawn="1"/>
        </p:nvSpPr>
        <p:spPr bwMode="auto">
          <a:xfrm>
            <a:off x="2419638" y="2918487"/>
            <a:ext cx="9085653" cy="1003266"/>
          </a:xfrm>
          <a:prstGeom prst="rect">
            <a:avLst/>
          </a:prstGeom>
          <a:solidFill>
            <a:srgbClr val="00B0F0">
              <a:lumMod val="20000"/>
              <a:lumOff val="80000"/>
            </a:srgbClr>
          </a:solidFill>
          <a:ln w="12700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337914" tIns="42239" rIns="42239" bIns="42239" numCol="1" anchor="ctr" anchorCtr="0" compatLnSpc="1">
            <a:prstTxWarp prst="textNoShape">
              <a:avLst/>
            </a:prstTxWarp>
          </a:bodyPr>
          <a:lstStyle>
            <a:lvl1pPr marL="228600" indent="-228600" algn="l" defTabSz="1019175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4080"/>
              </a:buClr>
              <a:buSzPct val="90000"/>
              <a:buFont typeface="Wingdings" pitchFamily="2" charset="2"/>
              <a:buChar char="n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90525" indent="-142875" algn="l" defTabSz="1019175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Arial" pitchFamily="34" charset="0"/>
              <a:buChar char="–"/>
              <a:defRPr sz="1100">
                <a:solidFill>
                  <a:srgbClr val="000000"/>
                </a:solidFill>
                <a:latin typeface="+mn-lt"/>
              </a:defRPr>
            </a:lvl2pPr>
            <a:lvl3pPr marL="504825" indent="-104775" algn="l" defTabSz="1019175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3pPr>
            <a:lvl4pPr marL="904875" indent="-212725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4pPr>
            <a:lvl5pPr marL="11477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5pPr>
            <a:lvl6pPr marL="16049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6pPr>
            <a:lvl7pPr marL="20621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7pPr>
            <a:lvl8pPr marL="25193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8pPr>
            <a:lvl9pPr marL="29765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211186" indent="-211186" defTabSz="941542">
              <a:spcBef>
                <a:spcPts val="554"/>
              </a:spcBef>
              <a:defRPr/>
            </a:pPr>
            <a:r>
              <a:rPr lang="en-US" sz="1300" kern="0"/>
              <a:t>Sample 1</a:t>
            </a:r>
          </a:p>
          <a:p>
            <a:pPr marL="360778" lvl="1" indent="-131992" defTabSz="941542">
              <a:spcBef>
                <a:spcPts val="370"/>
              </a:spcBef>
              <a:defRPr/>
            </a:pPr>
            <a:r>
              <a:rPr lang="en-US" sz="1300" kern="0"/>
              <a:t>Sample 2</a:t>
            </a:r>
          </a:p>
          <a:p>
            <a:pPr marL="466371" lvl="2" indent="-96793" defTabSz="941542">
              <a:spcBef>
                <a:spcPts val="185"/>
              </a:spcBef>
              <a:defRPr/>
            </a:pPr>
            <a:r>
              <a:rPr lang="en-US" sz="1300" kern="0"/>
              <a:t>Sample 3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1456914" y="2856255"/>
            <a:ext cx="1326457" cy="1135163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84479" tIns="42239" rIns="84479" bIns="42239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748">
              <a:defRPr/>
            </a:pPr>
            <a:r>
              <a:rPr lang="en-US" sz="1300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9" name="Content Placeholder 22"/>
          <p:cNvSpPr>
            <a:spLocks noGrp="1"/>
          </p:cNvSpPr>
          <p:nvPr userDrawn="1"/>
        </p:nvSpPr>
        <p:spPr bwMode="auto">
          <a:xfrm>
            <a:off x="2004396" y="4474454"/>
            <a:ext cx="9517841" cy="1003266"/>
          </a:xfrm>
          <a:prstGeom prst="rect">
            <a:avLst/>
          </a:prstGeom>
          <a:solidFill>
            <a:srgbClr val="00B0F0">
              <a:lumMod val="20000"/>
              <a:lumOff val="80000"/>
            </a:srgbClr>
          </a:solidFill>
          <a:ln w="12700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337914" tIns="42239" rIns="42239" bIns="42239" numCol="1" anchor="ctr" anchorCtr="0" compatLnSpc="1">
            <a:prstTxWarp prst="textNoShape">
              <a:avLst/>
            </a:prstTxWarp>
          </a:bodyPr>
          <a:lstStyle>
            <a:lvl1pPr marL="228600" indent="-228600" algn="l" defTabSz="1019175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4080"/>
              </a:buClr>
              <a:buSzPct val="90000"/>
              <a:buFont typeface="Wingdings" pitchFamily="2" charset="2"/>
              <a:buChar char="n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90525" indent="-142875" algn="l" defTabSz="1019175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Arial" pitchFamily="34" charset="0"/>
              <a:buChar char="–"/>
              <a:defRPr sz="1100">
                <a:solidFill>
                  <a:srgbClr val="000000"/>
                </a:solidFill>
                <a:latin typeface="+mn-lt"/>
              </a:defRPr>
            </a:lvl2pPr>
            <a:lvl3pPr marL="504825" indent="-104775" algn="l" defTabSz="1019175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3pPr>
            <a:lvl4pPr marL="904875" indent="-212725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4pPr>
            <a:lvl5pPr marL="11477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5pPr>
            <a:lvl6pPr marL="16049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6pPr>
            <a:lvl7pPr marL="20621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7pPr>
            <a:lvl8pPr marL="25193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8pPr>
            <a:lvl9pPr marL="29765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211186" indent="-211186" defTabSz="941542">
              <a:spcBef>
                <a:spcPts val="554"/>
              </a:spcBef>
              <a:defRPr/>
            </a:pPr>
            <a:r>
              <a:rPr lang="en-US" sz="1300" kern="0"/>
              <a:t>Sample 1</a:t>
            </a:r>
          </a:p>
          <a:p>
            <a:pPr marL="360778" lvl="1" indent="-131992" defTabSz="941542">
              <a:spcBef>
                <a:spcPts val="370"/>
              </a:spcBef>
              <a:defRPr/>
            </a:pPr>
            <a:r>
              <a:rPr lang="en-US" sz="1300" kern="0"/>
              <a:t>Sample 2</a:t>
            </a:r>
          </a:p>
          <a:p>
            <a:pPr marL="466371" lvl="2" indent="-96793" defTabSz="941542">
              <a:spcBef>
                <a:spcPts val="185"/>
              </a:spcBef>
              <a:defRPr/>
            </a:pPr>
            <a:r>
              <a:rPr lang="en-US" sz="1300" kern="0"/>
              <a:t>Sample 3</a:t>
            </a:r>
          </a:p>
        </p:txBody>
      </p:sp>
      <p:sp>
        <p:nvSpPr>
          <p:cNvPr id="20" name="Oval 19"/>
          <p:cNvSpPr/>
          <p:nvPr userDrawn="1"/>
        </p:nvSpPr>
        <p:spPr>
          <a:xfrm>
            <a:off x="1041676" y="4412222"/>
            <a:ext cx="1326457" cy="1135163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84479" tIns="42239" rIns="84479" bIns="42239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748">
              <a:defRPr/>
            </a:pPr>
            <a:r>
              <a:rPr lang="en-US" sz="1300" b="1">
                <a:solidFill>
                  <a:srgbClr val="FFFFFF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28483682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27636" y="521893"/>
            <a:ext cx="11632604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4"/>
          </p:nvPr>
        </p:nvSpPr>
        <p:spPr>
          <a:xfrm>
            <a:off x="264216" y="167389"/>
            <a:ext cx="4798484" cy="2159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5"/>
          </p:nvPr>
        </p:nvSpPr>
        <p:spPr>
          <a:xfrm>
            <a:off x="279263" y="1094248"/>
            <a:ext cx="11613834" cy="5204657"/>
          </a:xfrm>
        </p:spPr>
        <p:txBody>
          <a:bodyPr/>
          <a:lstStyle>
            <a:lvl1pPr>
              <a:defRPr sz="1500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876" indent="-179959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8" y="167389"/>
            <a:ext cx="670982" cy="215900"/>
          </a:xfrm>
          <a:prstGeom prst="rect">
            <a:avLst/>
          </a:prstGeom>
        </p:spPr>
        <p:txBody>
          <a:bodyPr lIns="91436" tIns="45718" rIns="91436" bIns="45718"/>
          <a:lstStyle>
            <a:lvl1pPr>
              <a:defRPr sz="1200"/>
            </a:lvl1pPr>
          </a:lstStyle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951250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8" y="167389"/>
            <a:ext cx="670982" cy="215900"/>
          </a:xfrm>
          <a:prstGeom prst="rect">
            <a:avLst/>
          </a:prstGeom>
        </p:spPr>
        <p:txBody>
          <a:bodyPr lIns="91436" tIns="45718" rIns="91436" bIns="45718"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aphicFrame>
        <p:nvGraphicFramePr>
          <p:cNvPr id="5" name="Diagram 4"/>
          <p:cNvGraphicFramePr/>
          <p:nvPr userDrawn="1">
            <p:extLst>
              <p:ext uri="{D42A27DB-BD31-4B8C-83A1-F6EECF244321}">
                <p14:modId xmlns:p14="http://schemas.microsoft.com/office/powerpoint/2010/main" val="2657339323"/>
              </p:ext>
            </p:extLst>
          </p:nvPr>
        </p:nvGraphicFramePr>
        <p:xfrm>
          <a:off x="537169" y="1585250"/>
          <a:ext cx="6444290" cy="46715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6981460" y="3194479"/>
            <a:ext cx="4714527" cy="1008623"/>
          </a:xfrm>
          <a:prstGeom prst="rect">
            <a:avLst/>
          </a:prstGeom>
          <a:noFill/>
          <a:ln>
            <a:noFill/>
          </a:ln>
        </p:spPr>
        <p:txBody>
          <a:bodyPr wrap="square" lIns="84466" tIns="42234" rIns="84466" bIns="42234" rtlCol="0">
            <a:spAutoFit/>
          </a:bodyPr>
          <a:lstStyle/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TEXT</a:t>
            </a:r>
          </a:p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6981460" y="1567145"/>
            <a:ext cx="4714527" cy="1008623"/>
          </a:xfrm>
          <a:prstGeom prst="rect">
            <a:avLst/>
          </a:prstGeom>
          <a:noFill/>
          <a:ln>
            <a:noFill/>
          </a:ln>
        </p:spPr>
        <p:txBody>
          <a:bodyPr wrap="square" lIns="84466" tIns="42234" rIns="84466" bIns="42234" rtlCol="0">
            <a:spAutoFit/>
          </a:bodyPr>
          <a:lstStyle/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TEXT</a:t>
            </a:r>
          </a:p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6981460" y="4821829"/>
            <a:ext cx="4714527" cy="1008623"/>
          </a:xfrm>
          <a:prstGeom prst="rect">
            <a:avLst/>
          </a:prstGeom>
          <a:noFill/>
          <a:ln>
            <a:noFill/>
          </a:ln>
        </p:spPr>
        <p:txBody>
          <a:bodyPr wrap="square" lIns="84466" tIns="42234" rIns="84466" bIns="42234" rtlCol="0">
            <a:spAutoFit/>
          </a:bodyPr>
          <a:lstStyle/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TEXT</a:t>
            </a:r>
          </a:p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6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876" indent="-179959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33040365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8" y="167389"/>
            <a:ext cx="670982" cy="215900"/>
          </a:xfrm>
          <a:prstGeom prst="rect">
            <a:avLst/>
          </a:prstGeom>
        </p:spPr>
        <p:txBody>
          <a:bodyPr lIns="91436" tIns="45718" rIns="91436" bIns="45718"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50588" y="1494336"/>
            <a:ext cx="2942619" cy="2513019"/>
          </a:xfrm>
          <a:prstGeom prst="rect">
            <a:avLst/>
          </a:prstGeom>
          <a:solidFill>
            <a:srgbClr val="E2FFC5"/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247851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632790" y="1503197"/>
            <a:ext cx="2942619" cy="2513019"/>
          </a:xfrm>
          <a:prstGeom prst="rect">
            <a:avLst/>
          </a:prstGeom>
          <a:solidFill>
            <a:srgbClr val="E2FFC5"/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247851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550588" y="4119600"/>
            <a:ext cx="2942619" cy="2513019"/>
          </a:xfrm>
          <a:prstGeom prst="rect">
            <a:avLst/>
          </a:prstGeom>
          <a:solidFill>
            <a:srgbClr val="E2FFC5"/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247851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" name="Rectangle 7"/>
          <p:cNvSpPr/>
          <p:nvPr userDrawn="1"/>
        </p:nvSpPr>
        <p:spPr>
          <a:xfrm rot="425343">
            <a:off x="3775787" y="4199632"/>
            <a:ext cx="2858542" cy="244121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247851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6981460" y="1482972"/>
            <a:ext cx="4714527" cy="1008623"/>
          </a:xfrm>
          <a:prstGeom prst="rect">
            <a:avLst/>
          </a:prstGeom>
          <a:noFill/>
          <a:ln>
            <a:noFill/>
          </a:ln>
        </p:spPr>
        <p:txBody>
          <a:bodyPr wrap="square" lIns="84466" tIns="42234" rIns="84466" bIns="42234" rtlCol="0">
            <a:spAutoFit/>
          </a:bodyPr>
          <a:lstStyle/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TEXT</a:t>
            </a:r>
          </a:p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54" indent="-263954" defTabSz="844660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10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6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876" indent="-179959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12889115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8" y="167389"/>
            <a:ext cx="670982" cy="215900"/>
          </a:xfrm>
          <a:prstGeom prst="rect">
            <a:avLst/>
          </a:prstGeom>
        </p:spPr>
        <p:txBody>
          <a:bodyPr lIns="91436" tIns="45718" rIns="91436" bIns="45718"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80696" y="1646879"/>
            <a:ext cx="3789567" cy="3590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191" tIns="44096" rIns="88191" bIns="44096" rtlCol="0" anchor="ctr"/>
          <a:lstStyle/>
          <a:p>
            <a:pPr algn="ctr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Description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017938" y="1632854"/>
            <a:ext cx="0" cy="5026039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8080331" y="1646885"/>
            <a:ext cx="0" cy="5026039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152452" y="3886918"/>
            <a:ext cx="3789562" cy="8338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88191" tIns="44096" rIns="88191" bIns="44096">
            <a:spAutoFit/>
          </a:bodyPr>
          <a:lstStyle/>
          <a:p>
            <a:pPr marL="91866" indent="-91866" defTabSz="91423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100">
                <a:solidFill>
                  <a:srgbClr val="000000"/>
                </a:solidFill>
              </a:rPr>
              <a:t>Text</a:t>
            </a:r>
          </a:p>
          <a:p>
            <a:pPr marL="91866" indent="-91866" defTabSz="91423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66" indent="-91866" defTabSz="91423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66" indent="-91866" defTabSz="91423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80697" y="3385236"/>
            <a:ext cx="11764448" cy="3590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191" tIns="44096" rIns="88191" bIns="44096" rtlCol="0" anchor="ctr"/>
          <a:lstStyle/>
          <a:p>
            <a:pPr algn="ctr" defTabSz="914231" fontAlgn="base">
              <a:spcBef>
                <a:spcPct val="0"/>
              </a:spcBef>
              <a:spcAft>
                <a:spcPct val="0"/>
              </a:spcAft>
              <a:buClr>
                <a:srgbClr val="3D7EDB"/>
              </a:buClr>
            </a:pPr>
            <a:r>
              <a:rPr lang="en-GB" sz="1500" b="1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164276" y="2073270"/>
            <a:ext cx="3789562" cy="8338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88191" tIns="44096" rIns="88191" bIns="44096">
            <a:spAutoFit/>
          </a:bodyPr>
          <a:lstStyle/>
          <a:p>
            <a:pPr marL="91866" indent="-91866" defTabSz="91423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100">
                <a:solidFill>
                  <a:srgbClr val="000000"/>
                </a:solidFill>
              </a:rPr>
              <a:t>Text</a:t>
            </a:r>
          </a:p>
          <a:p>
            <a:pPr marL="91866" indent="-91866" defTabSz="91423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66" indent="-91866" defTabSz="91423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66" indent="-91866" defTabSz="91423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4100077" y="1646879"/>
            <a:ext cx="3938430" cy="3590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191" tIns="44096" rIns="88191" bIns="44096" rtlCol="0" anchor="ctr"/>
          <a:lstStyle/>
          <a:p>
            <a:pPr algn="ctr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4071829" y="3886918"/>
            <a:ext cx="3938427" cy="8338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88191" tIns="44096" rIns="88191" bIns="44096">
            <a:spAutoFit/>
          </a:bodyPr>
          <a:lstStyle/>
          <a:p>
            <a:pPr marL="91866" indent="-91866" defTabSz="91423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100">
                <a:solidFill>
                  <a:srgbClr val="000000"/>
                </a:solidFill>
              </a:rPr>
              <a:t>Text</a:t>
            </a:r>
          </a:p>
          <a:p>
            <a:pPr marL="91866" indent="-91866" defTabSz="91423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66" indent="-91866" defTabSz="91423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66" indent="-91866" defTabSz="91423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4083654" y="2073270"/>
            <a:ext cx="3938427" cy="8338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88191" tIns="44096" rIns="88191" bIns="44096">
            <a:spAutoFit/>
          </a:bodyPr>
          <a:lstStyle/>
          <a:p>
            <a:pPr marL="91866" indent="-91866" defTabSz="91423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100">
                <a:solidFill>
                  <a:srgbClr val="000000"/>
                </a:solidFill>
              </a:rPr>
              <a:t>Text</a:t>
            </a:r>
          </a:p>
          <a:p>
            <a:pPr marL="91866" indent="-91866" defTabSz="91423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66" indent="-91866" defTabSz="91423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66" indent="-91866" defTabSz="91423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8183833" y="1646879"/>
            <a:ext cx="3789567" cy="3590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191" tIns="44096" rIns="88191" bIns="44096" rtlCol="0" anchor="ctr"/>
          <a:lstStyle/>
          <a:p>
            <a:pPr algn="ctr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8155603" y="3886918"/>
            <a:ext cx="3789562" cy="8338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88191" tIns="44096" rIns="88191" bIns="44096">
            <a:spAutoFit/>
          </a:bodyPr>
          <a:lstStyle/>
          <a:p>
            <a:pPr marL="91866" indent="-91866" defTabSz="91423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100">
                <a:solidFill>
                  <a:srgbClr val="000000"/>
                </a:solidFill>
              </a:rPr>
              <a:t>Text</a:t>
            </a:r>
          </a:p>
          <a:p>
            <a:pPr marL="91866" indent="-91866" defTabSz="91423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66" indent="-91866" defTabSz="91423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66" indent="-91866" defTabSz="91423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8167421" y="2073270"/>
            <a:ext cx="3789562" cy="8338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88191" tIns="44096" rIns="88191" bIns="44096">
            <a:spAutoFit/>
          </a:bodyPr>
          <a:lstStyle/>
          <a:p>
            <a:pPr marL="91866" indent="-91866" defTabSz="91423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100">
                <a:solidFill>
                  <a:srgbClr val="000000"/>
                </a:solidFill>
              </a:rPr>
              <a:t>Text</a:t>
            </a:r>
          </a:p>
          <a:p>
            <a:pPr marL="91866" indent="-91866" defTabSz="91423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66" indent="-91866" defTabSz="91423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66" indent="-91866" defTabSz="91423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24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6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876" indent="-179959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61799868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8" y="167389"/>
            <a:ext cx="670982" cy="215900"/>
          </a:xfrm>
          <a:prstGeom prst="rect">
            <a:avLst/>
          </a:prstGeom>
        </p:spPr>
        <p:txBody>
          <a:bodyPr lIns="91436" tIns="45718" rIns="91436" bIns="45718"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gray">
          <a:xfrm>
            <a:off x="393914" y="1285709"/>
            <a:ext cx="11334393" cy="4667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02" tIns="67142" rIns="67142" bIns="67142" anchor="ctr"/>
          <a:lstStyle/>
          <a:p>
            <a:pPr marL="316781" indent="-316781" defTabSz="914231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  <a:endParaRPr lang="en-IN" sz="1500" noProof="1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gray">
          <a:xfrm>
            <a:off x="393914" y="1921837"/>
            <a:ext cx="11334393" cy="46670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02" tIns="67142" rIns="67142" bIns="67142" anchor="ctr"/>
          <a:lstStyle/>
          <a:p>
            <a:pPr defTabSz="91423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>
              <a:solidFill>
                <a:srgbClr val="000000"/>
              </a:solidFill>
            </a:endParaRPr>
          </a:p>
          <a:p>
            <a:pPr marL="316781" indent="-316781" defTabSz="914231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2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</a:p>
          <a:p>
            <a:pPr defTabSz="91423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 noProof="1">
              <a:solidFill>
                <a:srgbClr val="000000"/>
              </a:solidFill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gray">
          <a:xfrm>
            <a:off x="393914" y="2557967"/>
            <a:ext cx="11334393" cy="4667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02" tIns="67142" rIns="67142" bIns="67142" anchor="ctr"/>
          <a:lstStyle/>
          <a:p>
            <a:pPr defTabSz="91423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>
              <a:solidFill>
                <a:srgbClr val="000000"/>
              </a:solidFill>
            </a:endParaRPr>
          </a:p>
          <a:p>
            <a:pPr marL="316781" indent="-316781" defTabSz="914231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3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</a:p>
          <a:p>
            <a:pPr defTabSz="91423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 noProof="1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gray">
          <a:xfrm>
            <a:off x="393914" y="3830224"/>
            <a:ext cx="11334393" cy="4667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02" tIns="67142" rIns="67142" bIns="67142" anchor="ctr"/>
          <a:lstStyle/>
          <a:p>
            <a:pPr defTabSz="91423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>
              <a:solidFill>
                <a:srgbClr val="000000"/>
              </a:solidFill>
            </a:endParaRPr>
          </a:p>
          <a:p>
            <a:pPr marL="316781" indent="-316781" defTabSz="914231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5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</a:p>
          <a:p>
            <a:pPr defTabSz="91423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 noProof="1">
              <a:solidFill>
                <a:srgbClr val="000000"/>
              </a:solidFill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gray">
          <a:xfrm>
            <a:off x="393914" y="3194096"/>
            <a:ext cx="11334393" cy="46670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02" tIns="67142" rIns="67142" bIns="67142" anchor="ctr"/>
          <a:lstStyle/>
          <a:p>
            <a:pPr marL="316781" indent="-316781" defTabSz="914231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4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  <a:endParaRPr lang="en-US" sz="1500" noProof="1">
              <a:solidFill>
                <a:srgbClr val="000000"/>
              </a:solidFill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gray">
          <a:xfrm>
            <a:off x="393914" y="4466354"/>
            <a:ext cx="11334393" cy="46670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02" tIns="67142" rIns="67142" bIns="67142" anchor="ctr"/>
          <a:lstStyle/>
          <a:p>
            <a:pPr marL="316781" indent="-316781" defTabSz="914231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6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  <a:endParaRPr lang="en-US" sz="1500" noProof="1">
              <a:solidFill>
                <a:srgbClr val="000000"/>
              </a:solidFill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gray">
          <a:xfrm>
            <a:off x="393914" y="5102481"/>
            <a:ext cx="11334393" cy="4667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02" tIns="67142" rIns="67142" bIns="67142" anchor="ctr"/>
          <a:lstStyle/>
          <a:p>
            <a:pPr defTabSz="91423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>
              <a:solidFill>
                <a:srgbClr val="000000"/>
              </a:solidFill>
            </a:endParaRPr>
          </a:p>
          <a:p>
            <a:pPr marL="316781" indent="-316781" defTabSz="914231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7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</a:p>
          <a:p>
            <a:pPr defTabSz="91423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513595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8" y="167389"/>
            <a:ext cx="670982" cy="215900"/>
          </a:xfrm>
          <a:prstGeom prst="rect">
            <a:avLst/>
          </a:prstGeom>
        </p:spPr>
        <p:txBody>
          <a:bodyPr lIns="91436" tIns="45718" rIns="91436" bIns="45718"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12" name="Content Placeholder 22"/>
          <p:cNvSpPr>
            <a:spLocks noGrp="1"/>
          </p:cNvSpPr>
          <p:nvPr userDrawn="1"/>
        </p:nvSpPr>
        <p:spPr bwMode="auto">
          <a:xfrm>
            <a:off x="1911838" y="1434892"/>
            <a:ext cx="9644294" cy="1003266"/>
          </a:xfrm>
          <a:prstGeom prst="rect">
            <a:avLst/>
          </a:prstGeom>
          <a:solidFill>
            <a:srgbClr val="00B0F0">
              <a:lumMod val="20000"/>
              <a:lumOff val="80000"/>
            </a:srgbClr>
          </a:solidFill>
          <a:ln w="12700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337900" tIns="42238" rIns="42238" bIns="42238" numCol="1" anchor="ctr" anchorCtr="0" compatLnSpc="1">
            <a:prstTxWarp prst="textNoShape">
              <a:avLst/>
            </a:prstTxWarp>
          </a:bodyPr>
          <a:lstStyle>
            <a:lvl1pPr marL="228600" indent="-228600" algn="l" defTabSz="1019175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4080"/>
              </a:buClr>
              <a:buSzPct val="90000"/>
              <a:buFont typeface="Wingdings" pitchFamily="2" charset="2"/>
              <a:buChar char="n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90525" indent="-142875" algn="l" defTabSz="1019175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Arial" pitchFamily="34" charset="0"/>
              <a:buChar char="–"/>
              <a:defRPr sz="1100">
                <a:solidFill>
                  <a:srgbClr val="000000"/>
                </a:solidFill>
                <a:latin typeface="+mn-lt"/>
              </a:defRPr>
            </a:lvl2pPr>
            <a:lvl3pPr marL="504825" indent="-104775" algn="l" defTabSz="1019175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3pPr>
            <a:lvl4pPr marL="904875" indent="-212725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4pPr>
            <a:lvl5pPr marL="11477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5pPr>
            <a:lvl6pPr marL="16049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6pPr>
            <a:lvl7pPr marL="20621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7pPr>
            <a:lvl8pPr marL="25193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8pPr>
            <a:lvl9pPr marL="29765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211187" indent="-211187" defTabSz="941544">
              <a:spcBef>
                <a:spcPts val="554"/>
              </a:spcBef>
              <a:defRPr/>
            </a:pPr>
            <a:r>
              <a:rPr lang="en-US" sz="1300" kern="0"/>
              <a:t>Sample 1</a:t>
            </a:r>
          </a:p>
          <a:p>
            <a:pPr marL="360778" lvl="1" indent="-131992" defTabSz="941544">
              <a:spcBef>
                <a:spcPts val="370"/>
              </a:spcBef>
              <a:defRPr/>
            </a:pPr>
            <a:r>
              <a:rPr lang="en-US" sz="1300" kern="0"/>
              <a:t>Sample 2</a:t>
            </a:r>
          </a:p>
          <a:p>
            <a:pPr marL="466372" lvl="2" indent="-96794" defTabSz="941544">
              <a:spcBef>
                <a:spcPts val="185"/>
              </a:spcBef>
              <a:defRPr/>
            </a:pPr>
            <a:r>
              <a:rPr lang="en-US" sz="1300" kern="0"/>
              <a:t>Sample 3</a:t>
            </a:r>
          </a:p>
        </p:txBody>
      </p:sp>
      <p:sp>
        <p:nvSpPr>
          <p:cNvPr id="14" name="Oval 13"/>
          <p:cNvSpPr/>
          <p:nvPr userDrawn="1"/>
        </p:nvSpPr>
        <p:spPr>
          <a:xfrm>
            <a:off x="949111" y="1372658"/>
            <a:ext cx="1326457" cy="1135163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84475" tIns="42238" rIns="84475" bIns="42238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748">
              <a:defRPr/>
            </a:pPr>
            <a:r>
              <a:rPr lang="en-US" sz="1300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7" name="Content Placeholder 22"/>
          <p:cNvSpPr>
            <a:spLocks noGrp="1"/>
          </p:cNvSpPr>
          <p:nvPr userDrawn="1"/>
        </p:nvSpPr>
        <p:spPr bwMode="auto">
          <a:xfrm>
            <a:off x="2419638" y="2918487"/>
            <a:ext cx="9085653" cy="1003266"/>
          </a:xfrm>
          <a:prstGeom prst="rect">
            <a:avLst/>
          </a:prstGeom>
          <a:solidFill>
            <a:srgbClr val="00B0F0">
              <a:lumMod val="20000"/>
              <a:lumOff val="80000"/>
            </a:srgbClr>
          </a:solidFill>
          <a:ln w="12700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337900" tIns="42238" rIns="42238" bIns="42238" numCol="1" anchor="ctr" anchorCtr="0" compatLnSpc="1">
            <a:prstTxWarp prst="textNoShape">
              <a:avLst/>
            </a:prstTxWarp>
          </a:bodyPr>
          <a:lstStyle>
            <a:lvl1pPr marL="228600" indent="-228600" algn="l" defTabSz="1019175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4080"/>
              </a:buClr>
              <a:buSzPct val="90000"/>
              <a:buFont typeface="Wingdings" pitchFamily="2" charset="2"/>
              <a:buChar char="n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90525" indent="-142875" algn="l" defTabSz="1019175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Arial" pitchFamily="34" charset="0"/>
              <a:buChar char="–"/>
              <a:defRPr sz="1100">
                <a:solidFill>
                  <a:srgbClr val="000000"/>
                </a:solidFill>
                <a:latin typeface="+mn-lt"/>
              </a:defRPr>
            </a:lvl2pPr>
            <a:lvl3pPr marL="504825" indent="-104775" algn="l" defTabSz="1019175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3pPr>
            <a:lvl4pPr marL="904875" indent="-212725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4pPr>
            <a:lvl5pPr marL="11477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5pPr>
            <a:lvl6pPr marL="16049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6pPr>
            <a:lvl7pPr marL="20621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7pPr>
            <a:lvl8pPr marL="25193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8pPr>
            <a:lvl9pPr marL="29765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211187" indent="-211187" defTabSz="941544">
              <a:spcBef>
                <a:spcPts val="554"/>
              </a:spcBef>
              <a:defRPr/>
            </a:pPr>
            <a:r>
              <a:rPr lang="en-US" sz="1300" kern="0"/>
              <a:t>Sample 1</a:t>
            </a:r>
          </a:p>
          <a:p>
            <a:pPr marL="360778" lvl="1" indent="-131992" defTabSz="941544">
              <a:spcBef>
                <a:spcPts val="370"/>
              </a:spcBef>
              <a:defRPr/>
            </a:pPr>
            <a:r>
              <a:rPr lang="en-US" sz="1300" kern="0"/>
              <a:t>Sample 2</a:t>
            </a:r>
          </a:p>
          <a:p>
            <a:pPr marL="466372" lvl="2" indent="-96794" defTabSz="941544">
              <a:spcBef>
                <a:spcPts val="185"/>
              </a:spcBef>
              <a:defRPr/>
            </a:pPr>
            <a:r>
              <a:rPr lang="en-US" sz="1300" kern="0"/>
              <a:t>Sample 3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1456912" y="2856273"/>
            <a:ext cx="1326457" cy="1135163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84475" tIns="42238" rIns="84475" bIns="42238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748">
              <a:defRPr/>
            </a:pPr>
            <a:r>
              <a:rPr lang="en-US" sz="1300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9" name="Content Placeholder 22"/>
          <p:cNvSpPr>
            <a:spLocks noGrp="1"/>
          </p:cNvSpPr>
          <p:nvPr userDrawn="1"/>
        </p:nvSpPr>
        <p:spPr bwMode="auto">
          <a:xfrm>
            <a:off x="2004395" y="4474454"/>
            <a:ext cx="9517841" cy="1003266"/>
          </a:xfrm>
          <a:prstGeom prst="rect">
            <a:avLst/>
          </a:prstGeom>
          <a:solidFill>
            <a:srgbClr val="00B0F0">
              <a:lumMod val="20000"/>
              <a:lumOff val="80000"/>
            </a:srgbClr>
          </a:solidFill>
          <a:ln w="12700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337900" tIns="42238" rIns="42238" bIns="42238" numCol="1" anchor="ctr" anchorCtr="0" compatLnSpc="1">
            <a:prstTxWarp prst="textNoShape">
              <a:avLst/>
            </a:prstTxWarp>
          </a:bodyPr>
          <a:lstStyle>
            <a:lvl1pPr marL="228600" indent="-228600" algn="l" defTabSz="1019175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4080"/>
              </a:buClr>
              <a:buSzPct val="90000"/>
              <a:buFont typeface="Wingdings" pitchFamily="2" charset="2"/>
              <a:buChar char="n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90525" indent="-142875" algn="l" defTabSz="1019175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Arial" pitchFamily="34" charset="0"/>
              <a:buChar char="–"/>
              <a:defRPr sz="1100">
                <a:solidFill>
                  <a:srgbClr val="000000"/>
                </a:solidFill>
                <a:latin typeface="+mn-lt"/>
              </a:defRPr>
            </a:lvl2pPr>
            <a:lvl3pPr marL="504825" indent="-104775" algn="l" defTabSz="1019175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3pPr>
            <a:lvl4pPr marL="904875" indent="-212725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4pPr>
            <a:lvl5pPr marL="11477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5pPr>
            <a:lvl6pPr marL="16049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6pPr>
            <a:lvl7pPr marL="20621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7pPr>
            <a:lvl8pPr marL="25193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8pPr>
            <a:lvl9pPr marL="29765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211187" indent="-211187" defTabSz="941544">
              <a:spcBef>
                <a:spcPts val="554"/>
              </a:spcBef>
              <a:defRPr/>
            </a:pPr>
            <a:r>
              <a:rPr lang="en-US" sz="1300" kern="0"/>
              <a:t>Sample 1</a:t>
            </a:r>
          </a:p>
          <a:p>
            <a:pPr marL="360778" lvl="1" indent="-131992" defTabSz="941544">
              <a:spcBef>
                <a:spcPts val="370"/>
              </a:spcBef>
              <a:defRPr/>
            </a:pPr>
            <a:r>
              <a:rPr lang="en-US" sz="1300" kern="0"/>
              <a:t>Sample 2</a:t>
            </a:r>
          </a:p>
          <a:p>
            <a:pPr marL="466372" lvl="2" indent="-96794" defTabSz="941544">
              <a:spcBef>
                <a:spcPts val="185"/>
              </a:spcBef>
              <a:defRPr/>
            </a:pPr>
            <a:r>
              <a:rPr lang="en-US" sz="1300" kern="0"/>
              <a:t>Sample 3</a:t>
            </a:r>
          </a:p>
        </p:txBody>
      </p:sp>
      <p:sp>
        <p:nvSpPr>
          <p:cNvPr id="20" name="Oval 19"/>
          <p:cNvSpPr/>
          <p:nvPr userDrawn="1"/>
        </p:nvSpPr>
        <p:spPr>
          <a:xfrm>
            <a:off x="1041674" y="4412240"/>
            <a:ext cx="1326457" cy="1135163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84475" tIns="42238" rIns="84475" bIns="42238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748">
              <a:defRPr/>
            </a:pPr>
            <a:r>
              <a:rPr lang="en-US" sz="1300" b="1">
                <a:solidFill>
                  <a:srgbClr val="FFFFFF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79719418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4"/>
            <a:ext cx="12192000" cy="6857596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7963" y="3"/>
            <a:ext cx="9356198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36" tIns="48868" rIns="97736" bIns="4886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x-none" sz="1700">
              <a:solidFill>
                <a:srgbClr val="000000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1941839"/>
              </p:ext>
            </p:ext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53070" y="6415250"/>
            <a:ext cx="379578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900" b="1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53070" y="6540862"/>
            <a:ext cx="403892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lang="en-US" sz="900">
                <a:solidFill>
                  <a:srgbClr val="FFFFFF"/>
                </a:solidFill>
                <a:latin typeface="Arial"/>
              </a:rPr>
              <a:t>Last Modified 21/02/2017 19:50 India Standard Time</a:t>
            </a:r>
            <a:endParaRPr sz="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53070" y="6666472"/>
            <a:ext cx="379578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900">
                <a:solidFill>
                  <a:srgbClr val="FFFFFF"/>
                </a:solidFill>
                <a:latin typeface="Arial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85968" y="1463555"/>
            <a:ext cx="8478153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defRPr lang="x-none" sz="34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85968" y="3182433"/>
            <a:ext cx="8478153" cy="2308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5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/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1" y="37255"/>
            <a:ext cx="401721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endParaRPr sz="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85967" y="153715"/>
            <a:ext cx="2961770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7736" tIns="48868" rIns="97736" bIns="48868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sz="160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3085968" y="3643967"/>
            <a:ext cx="8478153" cy="3148116"/>
            <a:chOff x="2268266" y="3571425"/>
            <a:chExt cx="6231663" cy="3085445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2268266" y="3571425"/>
              <a:ext cx="6231663" cy="226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lang="x-none"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lang="x-none"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lang="x-none"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lang="x-none"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lang="x-none"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lang="x-none"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lang="x-none"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lang="x-none"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lang="x-none"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 lang="x-none"/>
              </a:pPr>
              <a:r>
                <a:rPr sz="1500">
                  <a:solidFill>
                    <a:srgbClr val="808080"/>
                  </a:solidFill>
                  <a:latin typeface="Arial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268266" y="6249644"/>
              <a:ext cx="3544453" cy="4072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defTabSz="86028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x-none" sz="90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86028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x-none" sz="90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1"/>
          <a:stretch/>
        </p:blipFill>
        <p:spPr bwMode="auto">
          <a:xfrm>
            <a:off x="1" y="0"/>
            <a:ext cx="12194160" cy="6864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Disclaimer-English (US)"/>
          <p:cNvSpPr>
            <a:spLocks noChangeArrowheads="1"/>
          </p:cNvSpPr>
          <p:nvPr/>
        </p:nvSpPr>
        <p:spPr bwMode="auto">
          <a:xfrm>
            <a:off x="57020" y="6525121"/>
            <a:ext cx="595323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6028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>
                <a:solidFill>
                  <a:srgbClr val="FFFFFF">
                    <a:lumMod val="85000"/>
                  </a:srgbClr>
                </a:solidFill>
              </a:rPr>
              <a:t>CONFIDENTIAL AND PROPRIETARY</a:t>
            </a:r>
          </a:p>
          <a:p>
            <a:pPr defTabSz="86028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>
                <a:solidFill>
                  <a:srgbClr val="FFFFFF">
                    <a:lumMod val="85000"/>
                  </a:srgbClr>
                </a:solidFill>
              </a:rPr>
              <a:t>Any use of this material without specific permission of McKinsey &amp; Company is strictly prohibited</a:t>
            </a:r>
          </a:p>
        </p:txBody>
      </p:sp>
      <p:sp>
        <p:nvSpPr>
          <p:cNvPr id="20" name="doc id"/>
          <p:cNvSpPr txBox="1">
            <a:spLocks noChangeArrowheads="1"/>
          </p:cNvSpPr>
          <p:nvPr/>
        </p:nvSpPr>
        <p:spPr bwMode="auto">
          <a:xfrm>
            <a:off x="11485749" y="37255"/>
            <a:ext cx="401721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7039179" y="295442"/>
            <a:ext cx="1793487" cy="1345036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36" tIns="48868" rIns="97736" bIns="4886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700" err="1">
              <a:blipFill>
                <a:blip r:embed="rId8"/>
                <a:stretch>
                  <a:fillRect/>
                </a:stretch>
              </a:blip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2667171" y="549873"/>
            <a:ext cx="4475681" cy="3356562"/>
          </a:xfrm>
          <a:prstGeom prst="ellipse">
            <a:avLst/>
          </a:prstGeom>
          <a:blipFill dpi="0" rotWithShape="1">
            <a:blip r:embed="rId9"/>
            <a:srcRect/>
            <a:stretch>
              <a:fillRect r="-73000"/>
            </a:stretch>
          </a:blip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36" tIns="48868" rIns="97736" bIns="4886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700" err="1">
              <a:blipFill>
                <a:blip r:embed="rId10"/>
                <a:stretch>
                  <a:fillRect/>
                </a:stretch>
              </a:blipFill>
            </a:endParaRPr>
          </a:p>
        </p:txBody>
      </p:sp>
      <p:sp>
        <p:nvSpPr>
          <p:cNvPr id="23" name="Oval 22"/>
          <p:cNvSpPr/>
          <p:nvPr/>
        </p:nvSpPr>
        <p:spPr>
          <a:xfrm>
            <a:off x="342338" y="2995950"/>
            <a:ext cx="2664735" cy="1998434"/>
          </a:xfrm>
          <a:prstGeom prst="ellipse">
            <a:avLst/>
          </a:prstGeom>
          <a:blipFill dpi="0" rotWithShape="1">
            <a:blip r:embed="rId11"/>
            <a:srcRect/>
            <a:stretch>
              <a:fillRect l="1000" r="-1000"/>
            </a:stretch>
          </a:blip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36" tIns="48868" rIns="97736" bIns="4886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700" err="1">
              <a:blipFill>
                <a:blip r:embed="rId10"/>
                <a:stretch>
                  <a:fillRect/>
                </a:stretch>
              </a:blipFill>
            </a:endParaRPr>
          </a:p>
        </p:txBody>
      </p:sp>
    </p:spTree>
    <p:extLst>
      <p:ext uri="{BB962C8B-B14F-4D97-AF65-F5344CB8AC3E}">
        <p14:creationId xmlns:p14="http://schemas.microsoft.com/office/powerpoint/2010/main" val="30365036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3" y="6634026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sz="900" smtClean="0">
                <a:solidFill>
                  <a:srgbClr val="80808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sz="900">
              <a:solidFill>
                <a:srgbClr val="808080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380196" y="6634026"/>
            <a:ext cx="113492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6998" fontAlgn="base">
              <a:spcBef>
                <a:spcPct val="0"/>
              </a:spcBef>
              <a:spcAft>
                <a:spcPct val="0"/>
              </a:spcAft>
            </a:pPr>
            <a:r>
              <a:rPr lang="x-none" sz="900">
                <a:solidFill>
                  <a:srgbClr val="808080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160553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3" y="6634026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sz="900" smtClean="0">
                <a:solidFill>
                  <a:srgbClr val="80808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sz="900">
              <a:solidFill>
                <a:srgbClr val="808080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380196" y="6634026"/>
            <a:ext cx="113492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6998" fontAlgn="base">
              <a:spcBef>
                <a:spcPct val="0"/>
              </a:spcBef>
              <a:spcAft>
                <a:spcPct val="0"/>
              </a:spcAft>
            </a:pPr>
            <a:r>
              <a:rPr lang="x-none" sz="900">
                <a:solidFill>
                  <a:srgbClr val="808080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393428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52053" y="6634026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sz="900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sz="900">
              <a:solidFill>
                <a:srgbClr val="FFFFFF"/>
              </a:solidFill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380196" y="6634026"/>
            <a:ext cx="113492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6998" fontAlgn="base">
              <a:spcBef>
                <a:spcPct val="0"/>
              </a:spcBef>
              <a:spcAft>
                <a:spcPct val="0"/>
              </a:spcAft>
            </a:pPr>
            <a:r>
              <a:rPr lang="x-none" sz="900">
                <a:solidFill>
                  <a:srgbClr val="FFFFF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3986227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96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89" userDrawn="1">
          <p15:clr>
            <a:srgbClr val="00000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Box 3"/>
          <p:cNvSpPr txBox="1"/>
          <p:nvPr userDrawn="1"/>
        </p:nvSpPr>
        <p:spPr>
          <a:xfrm>
            <a:off x="11626140" y="6566446"/>
            <a:ext cx="284011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9E021CB-03B6-41B0-90CF-2FB9E20FFB7B}" type="slidenum">
              <a:rPr lang="en-GB" sz="11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sz="11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9988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gray">
          <a:xfrm>
            <a:off x="1761811" y="1832375"/>
            <a:ext cx="9411002" cy="53018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02" tIns="67142" rIns="67142" bIns="67142" anchor="ctr"/>
          <a:lstStyle/>
          <a:p>
            <a:pPr defTabSz="91423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IN" sz="1500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563422" y="1837910"/>
            <a:ext cx="1120543" cy="53018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42" tIns="67142" rIns="67142" bIns="67142" anchor="ctr"/>
          <a:lstStyle/>
          <a:p>
            <a:pPr algn="ctr" defTabSz="91423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gray">
          <a:xfrm>
            <a:off x="1764504" y="2475375"/>
            <a:ext cx="9411002" cy="49489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02" tIns="67142" rIns="67142" bIns="67142" anchor="ctr"/>
          <a:lstStyle/>
          <a:p>
            <a:pPr defTabSz="91423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gray">
          <a:xfrm>
            <a:off x="1772042" y="3081675"/>
            <a:ext cx="9411002" cy="550933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02" tIns="67142" rIns="67142" bIns="67142" anchor="ctr"/>
          <a:lstStyle/>
          <a:p>
            <a:pPr defTabSz="91423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9" name="Rectangle 15"/>
          <p:cNvSpPr>
            <a:spLocks noChangeArrowheads="1"/>
          </p:cNvSpPr>
          <p:nvPr userDrawn="1"/>
        </p:nvSpPr>
        <p:spPr bwMode="gray">
          <a:xfrm>
            <a:off x="563419" y="2475375"/>
            <a:ext cx="1093089" cy="49489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42" tIns="67142" rIns="67142" bIns="67142" anchor="ctr"/>
          <a:lstStyle/>
          <a:p>
            <a:pPr algn="ctr" defTabSz="91423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563419" y="3081649"/>
            <a:ext cx="1093089" cy="53018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42" tIns="67142" rIns="67142" bIns="67142" anchor="ctr"/>
          <a:lstStyle/>
          <a:p>
            <a:pPr algn="ctr" defTabSz="91423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gray">
          <a:xfrm>
            <a:off x="1772042" y="1210234"/>
            <a:ext cx="9411002" cy="53018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02" tIns="67142" rIns="67142" bIns="67142" anchor="ctr"/>
          <a:lstStyle/>
          <a:p>
            <a:pPr defTabSz="91423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IN" sz="1500" b="1" noProof="1">
                <a:solidFill>
                  <a:srgbClr val="5A245A">
                    <a:lumMod val="90000"/>
                    <a:lumOff val="10000"/>
                  </a:srgbClr>
                </a:solidFill>
              </a:rPr>
              <a:t>Text</a:t>
            </a: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563417" y="1210061"/>
            <a:ext cx="1120543" cy="53018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42" tIns="67142" rIns="67142" bIns="67142" anchor="ctr"/>
          <a:lstStyle/>
          <a:p>
            <a:pPr algn="ctr" defTabSz="91423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gray">
          <a:xfrm>
            <a:off x="1772034" y="4321244"/>
            <a:ext cx="9411002" cy="550933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02" tIns="67142" rIns="67142" bIns="67142" anchor="ctr"/>
          <a:lstStyle/>
          <a:p>
            <a:pPr defTabSz="91423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gray">
          <a:xfrm>
            <a:off x="563419" y="4321213"/>
            <a:ext cx="1093089" cy="53018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42" tIns="67142" rIns="67142" bIns="67142" anchor="ctr"/>
          <a:lstStyle/>
          <a:p>
            <a:pPr algn="ctr" defTabSz="91423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gray">
          <a:xfrm>
            <a:off x="1772042" y="3725718"/>
            <a:ext cx="9411002" cy="49489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02" tIns="67142" rIns="67142" bIns="67142" anchor="ctr"/>
          <a:lstStyle/>
          <a:p>
            <a:pPr defTabSz="91423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6" name="Rectangle 15"/>
          <p:cNvSpPr>
            <a:spLocks noChangeArrowheads="1"/>
          </p:cNvSpPr>
          <p:nvPr userDrawn="1"/>
        </p:nvSpPr>
        <p:spPr bwMode="gray">
          <a:xfrm>
            <a:off x="570945" y="3725718"/>
            <a:ext cx="1093089" cy="49489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42" tIns="67142" rIns="67142" bIns="67142" anchor="ctr"/>
          <a:lstStyle/>
          <a:p>
            <a:pPr algn="ctr" defTabSz="91423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547950237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27636" y="521897"/>
            <a:ext cx="11632604" cy="230832"/>
          </a:xfrm>
        </p:spPr>
        <p:txBody>
          <a:bodyPr/>
          <a:lstStyle>
            <a:lvl1pPr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4"/>
          </p:nvPr>
        </p:nvSpPr>
        <p:spPr>
          <a:xfrm>
            <a:off x="264220" y="167389"/>
            <a:ext cx="4798484" cy="215900"/>
          </a:xfrm>
          <a:prstGeom prst="rect">
            <a:avLst/>
          </a:prstGeom>
          <a:ln/>
        </p:spPr>
        <p:txBody>
          <a:bodyPr lIns="97736" tIns="48868" rIns="97736" bIns="48868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srgbClr val="FFFFFF"/>
              </a:solidFill>
            </a:endParaRPr>
          </a:p>
        </p:txBody>
      </p:sp>
      <p:sp>
        <p:nvSpPr>
          <p:cNvPr id="8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746686" y="191636"/>
            <a:ext cx="326443" cy="219390"/>
          </a:xfrm>
          <a:prstGeom prst="rect">
            <a:avLst/>
          </a:prstGeom>
        </p:spPr>
        <p:txBody>
          <a:bodyPr vert="horz" lIns="0" tIns="47134" rIns="74228" bIns="47134" rtlCol="0" anchor="ctr"/>
          <a:lstStyle>
            <a:lvl1pPr algn="l">
              <a:defRPr sz="700" b="1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103653F-4628-4CCA-BBFC-10994C39EA7C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5"/>
          </p:nvPr>
        </p:nvSpPr>
        <p:spPr>
          <a:xfrm>
            <a:off x="279268" y="1094251"/>
            <a:ext cx="11613833" cy="492443"/>
          </a:xfr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  <a:lvl2pPr>
              <a:defRPr sz="1100">
                <a:latin typeface="Arial" pitchFamily="34" charset="0"/>
                <a:cs typeface="Arial" pitchFamily="34" charset="0"/>
              </a:defRPr>
            </a:lvl2pPr>
            <a:lvl3pPr marL="448847" indent="-149615">
              <a:buClr>
                <a:schemeClr val="tx2"/>
              </a:buClr>
              <a:buFont typeface="Wingdings" pitchFamily="2" charset="2"/>
              <a:buChar char="§"/>
              <a:defRPr sz="9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9404515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53016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3"/>
            <a:ext cx="12192000" cy="6857596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7963" y="2"/>
            <a:ext cx="9356198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x-none" sz="1700">
              <a:solidFill>
                <a:srgbClr val="000000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030995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53070" y="6415250"/>
            <a:ext cx="379578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900" b="1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53070" y="6540861"/>
            <a:ext cx="403892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lang="en-US" sz="900">
                <a:solidFill>
                  <a:srgbClr val="FFFFFF"/>
                </a:solidFill>
                <a:latin typeface="Arial"/>
              </a:rPr>
              <a:t>Last Modified 21/02/2017 19:50 India Standard Time</a:t>
            </a:r>
            <a:endParaRPr sz="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53070" y="6666472"/>
            <a:ext cx="379578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900">
                <a:solidFill>
                  <a:srgbClr val="FFFFFF"/>
                </a:solidFill>
                <a:latin typeface="Arial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85967" y="1463555"/>
            <a:ext cx="8478153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defRPr lang="x-none" sz="34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85967" y="3182433"/>
            <a:ext cx="8478153" cy="2308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5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/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0" y="37255"/>
            <a:ext cx="401721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endParaRPr sz="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85967" y="153714"/>
            <a:ext cx="2961770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7740" tIns="48870" rIns="97740" bIns="4887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400"/>
            <a:endParaRPr sz="160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3085967" y="3643967"/>
            <a:ext cx="8478153" cy="3148116"/>
            <a:chOff x="2268266" y="3571425"/>
            <a:chExt cx="6231663" cy="3085445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2268266" y="3571425"/>
              <a:ext cx="6231663" cy="226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lang="x-none"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lang="x-none"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lang="x-none"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lang="x-none"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lang="x-none"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lang="x-none"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lang="x-none"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lang="x-none"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lang="x-none"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 lang="x-none"/>
              </a:pPr>
              <a:r>
                <a:rPr sz="1500">
                  <a:solidFill>
                    <a:srgbClr val="808080"/>
                  </a:solidFill>
                  <a:latin typeface="Arial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268266" y="6249644"/>
              <a:ext cx="3544453" cy="4072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defTabSz="86031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x-none" sz="90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86031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x-none" sz="90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1"/>
          <a:stretch/>
        </p:blipFill>
        <p:spPr bwMode="auto">
          <a:xfrm>
            <a:off x="1" y="0"/>
            <a:ext cx="12194160" cy="6864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Disclaimer-English (US)"/>
          <p:cNvSpPr>
            <a:spLocks noChangeArrowheads="1"/>
          </p:cNvSpPr>
          <p:nvPr/>
        </p:nvSpPr>
        <p:spPr bwMode="auto">
          <a:xfrm>
            <a:off x="57019" y="6525120"/>
            <a:ext cx="595323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6031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>
                <a:solidFill>
                  <a:srgbClr val="FFFFFF">
                    <a:lumMod val="85000"/>
                  </a:srgbClr>
                </a:solidFill>
              </a:rPr>
              <a:t>CONFIDENTIAL AND PROPRIETARY</a:t>
            </a:r>
          </a:p>
          <a:p>
            <a:pPr defTabSz="86031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>
                <a:solidFill>
                  <a:srgbClr val="FFFFFF">
                    <a:lumMod val="85000"/>
                  </a:srgbClr>
                </a:solidFill>
              </a:rPr>
              <a:t>Any use of this material without specific permission of McKinsey &amp; Company is strictly prohibited</a:t>
            </a:r>
          </a:p>
        </p:txBody>
      </p:sp>
      <p:sp>
        <p:nvSpPr>
          <p:cNvPr id="20" name="doc id"/>
          <p:cNvSpPr txBox="1">
            <a:spLocks noChangeArrowheads="1"/>
          </p:cNvSpPr>
          <p:nvPr/>
        </p:nvSpPr>
        <p:spPr bwMode="auto">
          <a:xfrm>
            <a:off x="11485749" y="37255"/>
            <a:ext cx="401721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7039179" y="295442"/>
            <a:ext cx="1793487" cy="1345036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GB" sz="1700" err="1">
              <a:blipFill>
                <a:blip r:embed="rId8"/>
                <a:stretch>
                  <a:fillRect/>
                </a:stretch>
              </a:blip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2667170" y="549873"/>
            <a:ext cx="4475681" cy="3356562"/>
          </a:xfrm>
          <a:prstGeom prst="ellipse">
            <a:avLst/>
          </a:prstGeom>
          <a:blipFill dpi="0" rotWithShape="1">
            <a:blip r:embed="rId9"/>
            <a:srcRect/>
            <a:stretch>
              <a:fillRect r="-73000"/>
            </a:stretch>
          </a:blip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GB" sz="1700" err="1">
              <a:blipFill>
                <a:blip r:embed="rId10"/>
                <a:stretch>
                  <a:fillRect/>
                </a:stretch>
              </a:blipFill>
            </a:endParaRPr>
          </a:p>
        </p:txBody>
      </p:sp>
      <p:sp>
        <p:nvSpPr>
          <p:cNvPr id="23" name="Oval 22"/>
          <p:cNvSpPr/>
          <p:nvPr/>
        </p:nvSpPr>
        <p:spPr>
          <a:xfrm>
            <a:off x="342338" y="2995950"/>
            <a:ext cx="2664735" cy="1998434"/>
          </a:xfrm>
          <a:prstGeom prst="ellipse">
            <a:avLst/>
          </a:prstGeom>
          <a:blipFill dpi="0" rotWithShape="1">
            <a:blip r:embed="rId11"/>
            <a:srcRect/>
            <a:stretch>
              <a:fillRect l="1000" r="-1000"/>
            </a:stretch>
          </a:blip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GB" sz="1700" err="1">
              <a:blipFill>
                <a:blip r:embed="rId10"/>
                <a:stretch>
                  <a:fillRect/>
                </a:stretch>
              </a:blipFill>
            </a:endParaRPr>
          </a:p>
        </p:txBody>
      </p:sp>
    </p:spTree>
    <p:extLst>
      <p:ext uri="{BB962C8B-B14F-4D97-AF65-F5344CB8AC3E}">
        <p14:creationId xmlns:p14="http://schemas.microsoft.com/office/powerpoint/2010/main" val="156950263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3" y="6634025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sz="900" smtClean="0">
                <a:solidFill>
                  <a:srgbClr val="80808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sz="90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60760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3" y="6634025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sz="900" smtClean="0">
                <a:solidFill>
                  <a:srgbClr val="80808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sz="90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95643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52053" y="6634025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sz="900" smtClean="0">
                <a:solidFill>
                  <a:srgbClr val="FFFFFF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sz="900">
              <a:solidFill>
                <a:srgbClr val="FFFFFF"/>
              </a:solidFill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380196" y="6634025"/>
            <a:ext cx="113492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7040" fontAlgn="base">
              <a:spcBef>
                <a:spcPct val="0"/>
              </a:spcBef>
              <a:spcAft>
                <a:spcPct val="0"/>
              </a:spcAft>
            </a:pPr>
            <a:r>
              <a:rPr lang="x-none" sz="900">
                <a:solidFill>
                  <a:srgbClr val="FFFFF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590329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96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89" userDrawn="1">
          <p15:clr>
            <a:srgbClr val="00000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Box 3"/>
          <p:cNvSpPr txBox="1"/>
          <p:nvPr userDrawn="1"/>
        </p:nvSpPr>
        <p:spPr>
          <a:xfrm>
            <a:off x="11626139" y="6566446"/>
            <a:ext cx="284011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B9E021CB-03B6-41B0-90CF-2FB9E20FFB7B}" type="slidenum">
              <a:rPr lang="en-GB" sz="1100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sz="11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218697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27636" y="521897"/>
            <a:ext cx="11632604" cy="230832"/>
          </a:xfrm>
        </p:spPr>
        <p:txBody>
          <a:bodyPr/>
          <a:lstStyle>
            <a:lvl1pPr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4"/>
          </p:nvPr>
        </p:nvSpPr>
        <p:spPr>
          <a:xfrm>
            <a:off x="264220" y="167389"/>
            <a:ext cx="4798484" cy="215900"/>
          </a:xfrm>
          <a:prstGeom prst="rect">
            <a:avLst/>
          </a:prstGeom>
          <a:ln/>
        </p:spPr>
        <p:txBody>
          <a:bodyPr lIns="97736" tIns="48868" rIns="97736" bIns="48868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700">
              <a:solidFill>
                <a:srgbClr val="FFFFFF"/>
              </a:solidFill>
            </a:endParaRPr>
          </a:p>
        </p:txBody>
      </p:sp>
      <p:sp>
        <p:nvSpPr>
          <p:cNvPr id="8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746686" y="191636"/>
            <a:ext cx="326443" cy="219390"/>
          </a:xfrm>
          <a:prstGeom prst="rect">
            <a:avLst/>
          </a:prstGeom>
        </p:spPr>
        <p:txBody>
          <a:bodyPr vert="horz" lIns="0" tIns="47134" rIns="74228" bIns="47134" rtlCol="0" anchor="ctr"/>
          <a:lstStyle>
            <a:lvl1pPr algn="l">
              <a:defRPr sz="700" b="1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103653F-4628-4CCA-BBFC-10994C39EA7C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5"/>
          </p:nvPr>
        </p:nvSpPr>
        <p:spPr>
          <a:xfrm>
            <a:off x="279268" y="1094251"/>
            <a:ext cx="11613833" cy="492443"/>
          </a:xfr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  <a:lvl2pPr>
              <a:defRPr sz="1100">
                <a:latin typeface="Arial" pitchFamily="34" charset="0"/>
                <a:cs typeface="Arial" pitchFamily="34" charset="0"/>
              </a:defRPr>
            </a:lvl2pPr>
            <a:lvl3pPr marL="448847" indent="-149615">
              <a:buClr>
                <a:schemeClr val="tx2"/>
              </a:buClr>
              <a:buFont typeface="Wingdings" pitchFamily="2" charset="2"/>
              <a:buChar char="§"/>
              <a:defRPr sz="9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49248130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119548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PP header horizon met logo's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4227" y="407988"/>
            <a:ext cx="12196234" cy="1566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4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79" y="2374900"/>
            <a:ext cx="11110382" cy="1144588"/>
          </a:xfrm>
        </p:spPr>
        <p:txBody>
          <a:bodyPr bIns="47820"/>
          <a:lstStyle>
            <a:lvl1pPr>
              <a:defRPr sz="34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4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779" y="6191314"/>
            <a:ext cx="11110382" cy="417513"/>
          </a:xfrm>
        </p:spPr>
        <p:txBody>
          <a:bodyPr tIns="47820" rIns="95631" bIns="47820"/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197165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8" y="167389"/>
            <a:ext cx="670982" cy="215900"/>
          </a:xfrm>
          <a:prstGeom prst="rect">
            <a:avLst/>
          </a:prstGeom>
        </p:spPr>
        <p:txBody>
          <a:bodyPr lIns="91436" tIns="45718" rIns="91436" bIns="45718"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gray">
          <a:xfrm>
            <a:off x="1744876" y="2417847"/>
            <a:ext cx="9411002" cy="53018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00" tIns="67087" rIns="67087" bIns="67087" anchor="ctr"/>
          <a:lstStyle/>
          <a:p>
            <a:pPr defTabSz="918897" eaLnBrk="0" hangingPunct="0">
              <a:spcBef>
                <a:spcPct val="25000"/>
              </a:spcBef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546481" y="1767272"/>
            <a:ext cx="1120543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87" tIns="67087" rIns="67087" bIns="67087" anchor="ctr"/>
          <a:lstStyle/>
          <a:p>
            <a:pPr algn="ctr" defTabSz="918897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gray">
          <a:xfrm>
            <a:off x="1747540" y="3056054"/>
            <a:ext cx="9411002" cy="49489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00" tIns="67087" rIns="67087" bIns="67087" anchor="ctr"/>
          <a:lstStyle/>
          <a:p>
            <a:pPr defTabSz="918897" eaLnBrk="0" hangingPunct="0">
              <a:spcBef>
                <a:spcPct val="25000"/>
              </a:spcBef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8" name="Rectangle 15"/>
          <p:cNvSpPr>
            <a:spLocks noChangeArrowheads="1"/>
          </p:cNvSpPr>
          <p:nvPr userDrawn="1"/>
        </p:nvSpPr>
        <p:spPr bwMode="gray">
          <a:xfrm>
            <a:off x="546465" y="2404733"/>
            <a:ext cx="1093089" cy="494891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87" tIns="67087" rIns="67087" bIns="67087" anchor="ctr"/>
          <a:lstStyle/>
          <a:p>
            <a:pPr algn="ctr" defTabSz="918897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gray">
          <a:xfrm>
            <a:off x="1755093" y="1139589"/>
            <a:ext cx="9411002" cy="53018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00" tIns="67087" rIns="67087" bIns="67087" anchor="ctr"/>
          <a:lstStyle/>
          <a:p>
            <a:pPr defTabSz="918897" eaLnBrk="0" hangingPunct="0">
              <a:spcBef>
                <a:spcPct val="25000"/>
              </a:spcBef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546477" y="1139423"/>
            <a:ext cx="1120543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87" tIns="67087" rIns="67087" bIns="67087" anchor="ctr"/>
          <a:lstStyle/>
          <a:p>
            <a:pPr algn="ctr" defTabSz="918897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gray">
          <a:xfrm>
            <a:off x="1755085" y="3676985"/>
            <a:ext cx="9411002" cy="55093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00" tIns="67087" rIns="67087" bIns="67087" anchor="ctr"/>
          <a:lstStyle/>
          <a:p>
            <a:pPr defTabSz="918897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gray">
          <a:xfrm>
            <a:off x="546465" y="3025654"/>
            <a:ext cx="1093089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87" tIns="67087" rIns="67087" bIns="67087" anchor="ctr"/>
          <a:lstStyle/>
          <a:p>
            <a:pPr algn="ctr" defTabSz="918897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gray">
          <a:xfrm>
            <a:off x="1747540" y="4378601"/>
            <a:ext cx="9411002" cy="55093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00" tIns="67087" rIns="67087" bIns="67087" anchor="ctr"/>
          <a:lstStyle/>
          <a:p>
            <a:pPr defTabSz="918897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gray">
          <a:xfrm>
            <a:off x="538939" y="3727245"/>
            <a:ext cx="1093089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87" tIns="67087" rIns="67087" bIns="67087" anchor="ctr"/>
          <a:lstStyle/>
          <a:p>
            <a:pPr algn="ctr" defTabSz="918897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gray">
          <a:xfrm>
            <a:off x="1761811" y="1781749"/>
            <a:ext cx="9411002" cy="55093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00" tIns="67087" rIns="67087" bIns="67087" anchor="ctr"/>
          <a:lstStyle/>
          <a:p>
            <a:pPr defTabSz="918897" eaLnBrk="0" hangingPunct="0">
              <a:spcBef>
                <a:spcPct val="25000"/>
              </a:spcBef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6" name="Rectangle 15"/>
          <p:cNvSpPr>
            <a:spLocks noChangeArrowheads="1"/>
          </p:cNvSpPr>
          <p:nvPr userDrawn="1"/>
        </p:nvSpPr>
        <p:spPr bwMode="gray">
          <a:xfrm>
            <a:off x="534971" y="4429943"/>
            <a:ext cx="1093089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87" tIns="67087" rIns="67087" bIns="67087" anchor="ctr"/>
          <a:lstStyle/>
          <a:p>
            <a:pPr algn="ctr" defTabSz="918897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17" name="Rectangle 4"/>
          <p:cNvSpPr>
            <a:spLocks noChangeArrowheads="1"/>
          </p:cNvSpPr>
          <p:nvPr userDrawn="1"/>
        </p:nvSpPr>
        <p:spPr bwMode="gray">
          <a:xfrm>
            <a:off x="1759508" y="5125741"/>
            <a:ext cx="9411002" cy="55093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00" tIns="67087" rIns="67087" bIns="67087" anchor="ctr"/>
          <a:lstStyle/>
          <a:p>
            <a:pPr defTabSz="918897" eaLnBrk="0" hangingPunct="0">
              <a:spcBef>
                <a:spcPct val="25000"/>
              </a:spcBef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gray">
          <a:xfrm>
            <a:off x="550898" y="5139321"/>
            <a:ext cx="1093089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87" tIns="67087" rIns="67087" bIns="67087" anchor="ctr"/>
          <a:lstStyle/>
          <a:p>
            <a:pPr algn="ctr" defTabSz="918897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3717789500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27637" y="521892"/>
            <a:ext cx="11632606" cy="360363"/>
          </a:xfrm>
        </p:spPr>
        <p:txBody>
          <a:bodyPr/>
          <a:lstStyle>
            <a:lvl1pPr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5"/>
          </p:nvPr>
        </p:nvSpPr>
        <p:spPr>
          <a:xfrm>
            <a:off x="279286" y="1094247"/>
            <a:ext cx="11613835" cy="5204657"/>
          </a:xfrm>
        </p:spPr>
        <p:txBody>
          <a:bodyPr/>
          <a:lstStyle>
            <a:lvl1pPr>
              <a:defRPr sz="1500">
                <a:latin typeface="Arial" pitchFamily="34" charset="0"/>
                <a:cs typeface="Arial" pitchFamily="34" charset="0"/>
              </a:defRPr>
            </a:lvl1pPr>
            <a:lvl2pPr>
              <a:defRPr sz="1400">
                <a:latin typeface="Arial" pitchFamily="34" charset="0"/>
                <a:cs typeface="Arial" pitchFamily="34" charset="0"/>
              </a:defRPr>
            </a:lvl2pPr>
            <a:lvl3pPr marL="564762" indent="-188254">
              <a:buClr>
                <a:schemeClr val="tx2"/>
              </a:buClr>
              <a:buFont typeface="Wingdings" pitchFamily="2" charset="2"/>
              <a:buChar char="§"/>
              <a:defRPr sz="12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6857481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09600" y="274640"/>
            <a:ext cx="10972800" cy="58515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1DE21EE4-803D-4E0A-8EBC-6F2B8C0613D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7513431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3"/>
            <a:ext cx="12192000" cy="6857596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7963" y="2"/>
            <a:ext cx="9356198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x-none" sz="1700">
              <a:solidFill>
                <a:srgbClr val="000000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9140597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53070" y="6415250"/>
            <a:ext cx="379578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900" b="1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53070" y="6540861"/>
            <a:ext cx="403892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lang="en-US" sz="900">
                <a:solidFill>
                  <a:srgbClr val="FFFFFF"/>
                </a:solidFill>
                <a:latin typeface="Arial"/>
              </a:rPr>
              <a:t>Last Modified 21/02/2017 19:50 India Standard Time</a:t>
            </a:r>
            <a:endParaRPr sz="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53070" y="6666472"/>
            <a:ext cx="379578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900">
                <a:solidFill>
                  <a:srgbClr val="FFFFFF"/>
                </a:solidFill>
                <a:latin typeface="Arial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85967" y="1463555"/>
            <a:ext cx="8478153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defRPr lang="x-none" sz="34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85967" y="3182433"/>
            <a:ext cx="8478153" cy="2308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5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/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0" y="37255"/>
            <a:ext cx="401721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endParaRPr sz="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85967" y="153714"/>
            <a:ext cx="2961770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7740" tIns="48870" rIns="97740" bIns="4887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400"/>
            <a:endParaRPr sz="160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3085967" y="3643967"/>
            <a:ext cx="8478153" cy="3148116"/>
            <a:chOff x="2268266" y="3571425"/>
            <a:chExt cx="6231663" cy="3085445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2268266" y="3571425"/>
              <a:ext cx="6231663" cy="226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lang="x-none"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lang="x-none"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lang="x-none"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lang="x-none"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lang="x-none"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lang="x-none"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lang="x-none"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lang="x-none"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lang="x-none"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 lang="x-none"/>
              </a:pPr>
              <a:r>
                <a:rPr sz="1500">
                  <a:solidFill>
                    <a:srgbClr val="808080"/>
                  </a:solidFill>
                  <a:latin typeface="Arial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268266" y="6249644"/>
              <a:ext cx="3544453" cy="4072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defTabSz="86031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x-none" sz="90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86031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x-none" sz="90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1"/>
          <a:stretch/>
        </p:blipFill>
        <p:spPr bwMode="auto">
          <a:xfrm>
            <a:off x="1" y="0"/>
            <a:ext cx="12194160" cy="6864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Disclaimer-English (US)"/>
          <p:cNvSpPr>
            <a:spLocks noChangeArrowheads="1"/>
          </p:cNvSpPr>
          <p:nvPr/>
        </p:nvSpPr>
        <p:spPr bwMode="auto">
          <a:xfrm>
            <a:off x="57019" y="6525120"/>
            <a:ext cx="595323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6031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>
                <a:solidFill>
                  <a:srgbClr val="FFFFFF">
                    <a:lumMod val="85000"/>
                  </a:srgbClr>
                </a:solidFill>
              </a:rPr>
              <a:t>CONFIDENTIAL AND PROPRIETARY</a:t>
            </a:r>
          </a:p>
          <a:p>
            <a:pPr defTabSz="86031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>
                <a:solidFill>
                  <a:srgbClr val="FFFFFF">
                    <a:lumMod val="85000"/>
                  </a:srgbClr>
                </a:solidFill>
              </a:rPr>
              <a:t>Any use of this material without specific permission of McKinsey &amp; Company is strictly prohibited</a:t>
            </a:r>
          </a:p>
        </p:txBody>
      </p:sp>
      <p:sp>
        <p:nvSpPr>
          <p:cNvPr id="20" name="doc id"/>
          <p:cNvSpPr txBox="1">
            <a:spLocks noChangeArrowheads="1"/>
          </p:cNvSpPr>
          <p:nvPr/>
        </p:nvSpPr>
        <p:spPr bwMode="auto">
          <a:xfrm>
            <a:off x="11485749" y="37255"/>
            <a:ext cx="401721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7039179" y="295442"/>
            <a:ext cx="1793487" cy="1345036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GB" sz="1700" err="1">
              <a:blipFill>
                <a:blip r:embed="rId8"/>
                <a:stretch>
                  <a:fillRect/>
                </a:stretch>
              </a:blip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2667170" y="549873"/>
            <a:ext cx="4475681" cy="3356562"/>
          </a:xfrm>
          <a:prstGeom prst="ellipse">
            <a:avLst/>
          </a:prstGeom>
          <a:blipFill dpi="0" rotWithShape="1">
            <a:blip r:embed="rId9"/>
            <a:srcRect/>
            <a:stretch>
              <a:fillRect r="-73000"/>
            </a:stretch>
          </a:blip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GB" sz="1700" err="1">
              <a:blipFill>
                <a:blip r:embed="rId10"/>
                <a:stretch>
                  <a:fillRect/>
                </a:stretch>
              </a:blipFill>
            </a:endParaRPr>
          </a:p>
        </p:txBody>
      </p:sp>
      <p:sp>
        <p:nvSpPr>
          <p:cNvPr id="23" name="Oval 22"/>
          <p:cNvSpPr/>
          <p:nvPr/>
        </p:nvSpPr>
        <p:spPr>
          <a:xfrm>
            <a:off x="342338" y="2995950"/>
            <a:ext cx="2664735" cy="1998434"/>
          </a:xfrm>
          <a:prstGeom prst="ellipse">
            <a:avLst/>
          </a:prstGeom>
          <a:blipFill dpi="0" rotWithShape="1">
            <a:blip r:embed="rId11"/>
            <a:srcRect/>
            <a:stretch>
              <a:fillRect l="1000" r="-1000"/>
            </a:stretch>
          </a:blip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GB" sz="1700" err="1">
              <a:blipFill>
                <a:blip r:embed="rId10"/>
                <a:stretch>
                  <a:fillRect/>
                </a:stretch>
              </a:blipFill>
            </a:endParaRPr>
          </a:p>
        </p:txBody>
      </p:sp>
    </p:spTree>
    <p:extLst>
      <p:ext uri="{BB962C8B-B14F-4D97-AF65-F5344CB8AC3E}">
        <p14:creationId xmlns:p14="http://schemas.microsoft.com/office/powerpoint/2010/main" val="141906200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3" y="6634025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sz="900" smtClean="0">
                <a:solidFill>
                  <a:srgbClr val="80808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sz="90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61715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3" y="6634025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sz="900" smtClean="0">
                <a:solidFill>
                  <a:srgbClr val="80808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sz="90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22434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52053" y="6634025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sz="900" smtClean="0">
                <a:solidFill>
                  <a:srgbClr val="FFFFFF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sz="900">
              <a:solidFill>
                <a:srgbClr val="FFFFFF"/>
              </a:solidFill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380196" y="6634025"/>
            <a:ext cx="113492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7040" fontAlgn="base">
              <a:spcBef>
                <a:spcPct val="0"/>
              </a:spcBef>
              <a:spcAft>
                <a:spcPct val="0"/>
              </a:spcAft>
            </a:pPr>
            <a:r>
              <a:rPr lang="x-none" sz="900">
                <a:solidFill>
                  <a:srgbClr val="FFFFF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01356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96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89" userDrawn="1">
          <p15:clr>
            <a:srgbClr val="00000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Box 3"/>
          <p:cNvSpPr txBox="1"/>
          <p:nvPr userDrawn="1"/>
        </p:nvSpPr>
        <p:spPr>
          <a:xfrm>
            <a:off x="11626139" y="6566446"/>
            <a:ext cx="284011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B9E021CB-03B6-41B0-90CF-2FB9E20FFB7B}" type="slidenum">
              <a:rPr lang="en-GB" sz="1100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sz="11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85479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PP header horizon met logo's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4228" y="407988"/>
            <a:ext cx="12196234" cy="1566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4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56" y="2374900"/>
            <a:ext cx="11110383" cy="1144588"/>
          </a:xfrm>
        </p:spPr>
        <p:txBody>
          <a:bodyPr bIns="45712"/>
          <a:lstStyle>
            <a:lvl1pPr>
              <a:defRPr sz="3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4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756" y="6191279"/>
            <a:ext cx="11110383" cy="417513"/>
          </a:xfrm>
        </p:spPr>
        <p:txBody>
          <a:bodyPr tIns="45712" rIns="91422" bIns="45712"/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1244223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27634" y="521892"/>
            <a:ext cx="11632606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4"/>
          </p:nvPr>
        </p:nvSpPr>
        <p:spPr>
          <a:xfrm>
            <a:off x="264215" y="167389"/>
            <a:ext cx="4798484" cy="2159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5"/>
          </p:nvPr>
        </p:nvSpPr>
        <p:spPr>
          <a:xfrm>
            <a:off x="279263" y="1094247"/>
            <a:ext cx="11613834" cy="5204657"/>
          </a:xfrm>
        </p:spPr>
        <p:txBody>
          <a:bodyPr/>
          <a:lstStyle>
            <a:lvl1pPr>
              <a:defRPr sz="1500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00" indent="-179967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43924186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gray">
          <a:xfrm>
            <a:off x="1761811" y="1832375"/>
            <a:ext cx="9411002" cy="53018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IN" sz="1500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563422" y="1837910"/>
            <a:ext cx="1120543" cy="53018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45" tIns="67145" rIns="67145" bIns="67145" anchor="ctr"/>
          <a:lstStyle/>
          <a:p>
            <a:pPr algn="ctr"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gray">
          <a:xfrm>
            <a:off x="1764504" y="2475374"/>
            <a:ext cx="9411002" cy="49489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gray">
          <a:xfrm>
            <a:off x="1772042" y="3081674"/>
            <a:ext cx="9411002" cy="550933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9" name="Rectangle 15"/>
          <p:cNvSpPr>
            <a:spLocks noChangeArrowheads="1"/>
          </p:cNvSpPr>
          <p:nvPr userDrawn="1"/>
        </p:nvSpPr>
        <p:spPr bwMode="gray">
          <a:xfrm>
            <a:off x="563416" y="2475374"/>
            <a:ext cx="1093089" cy="49489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45" tIns="67145" rIns="67145" bIns="67145" anchor="ctr"/>
          <a:lstStyle/>
          <a:p>
            <a:pPr algn="ctr"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563416" y="3081648"/>
            <a:ext cx="1093089" cy="53018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45" tIns="67145" rIns="67145" bIns="67145" anchor="ctr"/>
          <a:lstStyle/>
          <a:p>
            <a:pPr algn="ctr"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gray">
          <a:xfrm>
            <a:off x="1772042" y="1210233"/>
            <a:ext cx="9411002" cy="53018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IN" sz="1500" b="1" noProof="1">
                <a:solidFill>
                  <a:srgbClr val="5A245A">
                    <a:lumMod val="90000"/>
                    <a:lumOff val="10000"/>
                  </a:srgbClr>
                </a:solidFill>
              </a:rPr>
              <a:t>Text</a:t>
            </a: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563417" y="1210061"/>
            <a:ext cx="1120543" cy="53018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45" tIns="67145" rIns="67145" bIns="67145" anchor="ctr"/>
          <a:lstStyle/>
          <a:p>
            <a:pPr algn="ctr"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gray">
          <a:xfrm>
            <a:off x="1772034" y="4321243"/>
            <a:ext cx="9411002" cy="550933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gray">
          <a:xfrm>
            <a:off x="563416" y="4321213"/>
            <a:ext cx="1093089" cy="53018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45" tIns="67145" rIns="67145" bIns="67145" anchor="ctr"/>
          <a:lstStyle/>
          <a:p>
            <a:pPr algn="ctr"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gray">
          <a:xfrm>
            <a:off x="1772042" y="3725717"/>
            <a:ext cx="9411002" cy="49489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6" name="Rectangle 15"/>
          <p:cNvSpPr>
            <a:spLocks noChangeArrowheads="1"/>
          </p:cNvSpPr>
          <p:nvPr userDrawn="1"/>
        </p:nvSpPr>
        <p:spPr bwMode="gray">
          <a:xfrm>
            <a:off x="570944" y="3725717"/>
            <a:ext cx="1093089" cy="49489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45" tIns="67145" rIns="67145" bIns="67145" anchor="ctr"/>
          <a:lstStyle/>
          <a:p>
            <a:pPr algn="ctr"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84339231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27636" y="521893"/>
            <a:ext cx="11632604" cy="360363"/>
          </a:xfrm>
        </p:spPr>
        <p:txBody>
          <a:bodyPr/>
          <a:lstStyle>
            <a:lvl1pPr>
              <a:defRPr sz="2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4"/>
          </p:nvPr>
        </p:nvSpPr>
        <p:spPr>
          <a:xfrm>
            <a:off x="247788" y="167389"/>
            <a:ext cx="4798484" cy="2159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8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746683" y="205661"/>
            <a:ext cx="326444" cy="219390"/>
          </a:xfrm>
          <a:prstGeom prst="rect">
            <a:avLst/>
          </a:prstGeom>
        </p:spPr>
        <p:txBody>
          <a:bodyPr vert="horz" lIns="0" tIns="44096" rIns="69443" bIns="44096" rtlCol="0" anchor="ctr"/>
          <a:lstStyle>
            <a:lvl1pPr algn="l">
              <a:defRPr sz="1000" b="1">
                <a:solidFill>
                  <a:schemeClr val="bg1"/>
                </a:solidFill>
                <a:latin typeface="+mn-lt"/>
              </a:defRPr>
            </a:lvl1pPr>
          </a:lstStyle>
          <a:p>
            <a:fld id="{7103653F-4628-4CCA-BBFC-10994C39EA7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94119" y="1420572"/>
            <a:ext cx="10401366" cy="5121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247851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0" name="Oval 25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605217" y="1435743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5" tIns="42238" rIns="84475" bIns="42238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994119" y="2286142"/>
            <a:ext cx="10401366" cy="5555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247851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2" name="Oval 26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06433" y="235098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5" tIns="42238" rIns="84475" bIns="42238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994119" y="3195072"/>
            <a:ext cx="10401366" cy="5710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247851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4" name="Oval 26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596993" y="3251151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5" tIns="42238" rIns="84475" bIns="42238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994119" y="4119516"/>
            <a:ext cx="10401366" cy="5439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247851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6" name="Oval 26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614929" y="4155216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5" tIns="42238" rIns="84475" bIns="42238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94119" y="5016842"/>
            <a:ext cx="10401366" cy="4936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5" tIns="42238" rIns="84475" bIns="42238" anchor="ctr" anchorCtr="0">
            <a:normAutofit/>
          </a:bodyPr>
          <a:lstStyle/>
          <a:p>
            <a:pPr marL="159857" algn="just" defTabSz="91423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8" name="Oval 263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626209" y="5046546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5" tIns="42238" rIns="84475" bIns="42238" anchor="ctr"/>
          <a:lstStyle/>
          <a:p>
            <a:pPr algn="ctr" defTabSz="844748">
              <a:defRPr/>
            </a:pPr>
            <a:r>
              <a:rPr lang="en-US" sz="1700" kern="0">
                <a:solidFill>
                  <a:srgbClr val="FFFFFF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503919443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gray">
          <a:xfrm>
            <a:off x="1744876" y="2417847"/>
            <a:ext cx="9411002" cy="53018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10" tIns="67090" rIns="67090" bIns="67090" anchor="ctr"/>
          <a:lstStyle/>
          <a:p>
            <a:pPr defTabSz="918938" eaLnBrk="0" hangingPunct="0">
              <a:spcBef>
                <a:spcPct val="25000"/>
              </a:spcBef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546479" y="1767272"/>
            <a:ext cx="1120543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0" tIns="67090" rIns="67090" bIns="67090" anchor="ctr"/>
          <a:lstStyle/>
          <a:p>
            <a:pPr algn="ctr" defTabSz="918938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gray">
          <a:xfrm>
            <a:off x="1747539" y="3056053"/>
            <a:ext cx="9411002" cy="49489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10" tIns="67090" rIns="67090" bIns="67090" anchor="ctr"/>
          <a:lstStyle/>
          <a:p>
            <a:pPr defTabSz="918938" eaLnBrk="0" hangingPunct="0">
              <a:spcBef>
                <a:spcPct val="25000"/>
              </a:spcBef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8" name="Rectangle 15"/>
          <p:cNvSpPr>
            <a:spLocks noChangeArrowheads="1"/>
          </p:cNvSpPr>
          <p:nvPr userDrawn="1"/>
        </p:nvSpPr>
        <p:spPr bwMode="gray">
          <a:xfrm>
            <a:off x="546464" y="2404732"/>
            <a:ext cx="1093089" cy="494891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0" tIns="67090" rIns="67090" bIns="67090" anchor="ctr"/>
          <a:lstStyle/>
          <a:p>
            <a:pPr algn="ctr" defTabSz="918938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gray">
          <a:xfrm>
            <a:off x="1755093" y="1139588"/>
            <a:ext cx="9411002" cy="53018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10" tIns="67090" rIns="67090" bIns="67090" anchor="ctr"/>
          <a:lstStyle/>
          <a:p>
            <a:pPr defTabSz="918938" eaLnBrk="0" hangingPunct="0">
              <a:spcBef>
                <a:spcPct val="25000"/>
              </a:spcBef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546476" y="1139423"/>
            <a:ext cx="1120543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0" tIns="67090" rIns="67090" bIns="67090" anchor="ctr"/>
          <a:lstStyle/>
          <a:p>
            <a:pPr algn="ctr" defTabSz="918938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gray">
          <a:xfrm>
            <a:off x="1755085" y="3676984"/>
            <a:ext cx="9411002" cy="55093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10" tIns="67090" rIns="67090" bIns="67090" anchor="ctr"/>
          <a:lstStyle/>
          <a:p>
            <a:pPr defTabSz="918938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gray">
          <a:xfrm>
            <a:off x="546464" y="3025654"/>
            <a:ext cx="1093089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0" tIns="67090" rIns="67090" bIns="67090" anchor="ctr"/>
          <a:lstStyle/>
          <a:p>
            <a:pPr algn="ctr" defTabSz="918938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gray">
          <a:xfrm>
            <a:off x="1747539" y="4378600"/>
            <a:ext cx="9411002" cy="55093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10" tIns="67090" rIns="67090" bIns="67090" anchor="ctr"/>
          <a:lstStyle/>
          <a:p>
            <a:pPr defTabSz="918938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gray">
          <a:xfrm>
            <a:off x="538937" y="3727245"/>
            <a:ext cx="1093089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0" tIns="67090" rIns="67090" bIns="67090" anchor="ctr"/>
          <a:lstStyle/>
          <a:p>
            <a:pPr algn="ctr" defTabSz="918938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gray">
          <a:xfrm>
            <a:off x="1761811" y="1781747"/>
            <a:ext cx="9411002" cy="55093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10" tIns="67090" rIns="67090" bIns="67090" anchor="ctr"/>
          <a:lstStyle/>
          <a:p>
            <a:pPr defTabSz="918938" eaLnBrk="0" hangingPunct="0">
              <a:spcBef>
                <a:spcPct val="25000"/>
              </a:spcBef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6" name="Rectangle 15"/>
          <p:cNvSpPr>
            <a:spLocks noChangeArrowheads="1"/>
          </p:cNvSpPr>
          <p:nvPr userDrawn="1"/>
        </p:nvSpPr>
        <p:spPr bwMode="gray">
          <a:xfrm>
            <a:off x="534969" y="4429942"/>
            <a:ext cx="1093089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0" tIns="67090" rIns="67090" bIns="67090" anchor="ctr"/>
          <a:lstStyle/>
          <a:p>
            <a:pPr algn="ctr" defTabSz="918938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17" name="Rectangle 4"/>
          <p:cNvSpPr>
            <a:spLocks noChangeArrowheads="1"/>
          </p:cNvSpPr>
          <p:nvPr userDrawn="1"/>
        </p:nvSpPr>
        <p:spPr bwMode="gray">
          <a:xfrm>
            <a:off x="1759507" y="5125740"/>
            <a:ext cx="9411002" cy="55093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10" tIns="67090" rIns="67090" bIns="67090" anchor="ctr"/>
          <a:lstStyle/>
          <a:p>
            <a:pPr defTabSz="918938" eaLnBrk="0" hangingPunct="0">
              <a:spcBef>
                <a:spcPct val="25000"/>
              </a:spcBef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gray">
          <a:xfrm>
            <a:off x="550896" y="5139320"/>
            <a:ext cx="1093089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0" tIns="67090" rIns="67090" bIns="67090" anchor="ctr"/>
          <a:lstStyle/>
          <a:p>
            <a:pPr algn="ctr" defTabSz="918938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373195858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27634" y="521892"/>
            <a:ext cx="11632606" cy="360363"/>
          </a:xfrm>
        </p:spPr>
        <p:txBody>
          <a:bodyPr/>
          <a:lstStyle>
            <a:lvl1pPr>
              <a:defRPr sz="2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4"/>
          </p:nvPr>
        </p:nvSpPr>
        <p:spPr>
          <a:xfrm>
            <a:off x="247787" y="167389"/>
            <a:ext cx="4798484" cy="2159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8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746683" y="205660"/>
            <a:ext cx="326444" cy="219391"/>
          </a:xfrm>
          <a:prstGeom prst="rect">
            <a:avLst/>
          </a:prstGeom>
        </p:spPr>
        <p:txBody>
          <a:bodyPr vert="horz" lIns="0" tIns="44098" rIns="69446" bIns="44098" rtlCol="0" anchor="ctr"/>
          <a:lstStyle>
            <a:lvl1pPr algn="l">
              <a:defRPr sz="1000" b="1">
                <a:solidFill>
                  <a:schemeClr val="bg1"/>
                </a:solidFill>
                <a:latin typeface="+mn-lt"/>
              </a:defRPr>
            </a:lvl1pPr>
          </a:lstStyle>
          <a:p>
            <a:fld id="{7103653F-4628-4CCA-BBFC-10994C39EA7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94118" y="1420571"/>
            <a:ext cx="10401366" cy="5121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0" name="Oval 25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605216" y="1435743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994118" y="2286140"/>
            <a:ext cx="10401366" cy="5555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2" name="Oval 26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06432" y="235098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994118" y="3195072"/>
            <a:ext cx="10401366" cy="5710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4" name="Oval 26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596992" y="3251151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994118" y="4119515"/>
            <a:ext cx="10401366" cy="5439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6" name="Oval 26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614928" y="415521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94118" y="5016841"/>
            <a:ext cx="10401366" cy="4936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159864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8" name="Oval 263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626208" y="504654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277115778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123" y="493825"/>
            <a:ext cx="11843810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25529" y="1008767"/>
            <a:ext cx="11667569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3234991" y="1596984"/>
            <a:ext cx="8529600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3234991" y="4884939"/>
            <a:ext cx="8529600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3234991" y="3240961"/>
            <a:ext cx="8529600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jdelijke aanduiding voor afbeelding 12"/>
          <p:cNvSpPr>
            <a:spLocks noGrp="1"/>
          </p:cNvSpPr>
          <p:nvPr>
            <p:ph type="pic" sz="quarter" idx="22"/>
          </p:nvPr>
        </p:nvSpPr>
        <p:spPr>
          <a:xfrm>
            <a:off x="312118" y="1596984"/>
            <a:ext cx="2685029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/>
          </p:cNvSpPr>
          <p:nvPr>
            <p:ph type="pic" sz="quarter" idx="23"/>
          </p:nvPr>
        </p:nvSpPr>
        <p:spPr>
          <a:xfrm>
            <a:off x="295688" y="3240961"/>
            <a:ext cx="2699305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5" name="Tijdelijke aanduiding voor afbeelding 12"/>
          <p:cNvSpPr>
            <a:spLocks noGrp="1"/>
          </p:cNvSpPr>
          <p:nvPr>
            <p:ph type="pic" sz="quarter" idx="24"/>
          </p:nvPr>
        </p:nvSpPr>
        <p:spPr>
          <a:xfrm>
            <a:off x="328544" y="4884939"/>
            <a:ext cx="2666450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5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C7F818-1137-44F4-B6D6-BECAD6B9515E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ftr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6640259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6" y="844553"/>
            <a:ext cx="11110383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37648" y="1513825"/>
            <a:ext cx="11131551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4339200" y="2088000"/>
            <a:ext cx="7315200" cy="2016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4339200" y="4377600"/>
            <a:ext cx="7315200" cy="2016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jdelijke aanduiding voor afbeelding 12"/>
          <p:cNvSpPr>
            <a:spLocks noGrp="1" noChangeAspect="1"/>
          </p:cNvSpPr>
          <p:nvPr>
            <p:ph type="pic" sz="quarter" idx="22"/>
          </p:nvPr>
        </p:nvSpPr>
        <p:spPr>
          <a:xfrm>
            <a:off x="539753" y="2088000"/>
            <a:ext cx="3513600" cy="2016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 noChangeAspect="1"/>
          </p:cNvSpPr>
          <p:nvPr>
            <p:ph type="pic" sz="quarter" idx="23"/>
          </p:nvPr>
        </p:nvSpPr>
        <p:spPr>
          <a:xfrm>
            <a:off x="537601" y="4377600"/>
            <a:ext cx="3513600" cy="2016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4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A22AC8-36D9-4965-81AD-19038FCC0CC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ftr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0347054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9770" y="521887"/>
            <a:ext cx="11698313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443530" y="1919652"/>
            <a:ext cx="560158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6387780" y="1919652"/>
            <a:ext cx="5538105" cy="360000"/>
          </a:xfrm>
          <a:solidFill>
            <a:schemeClr val="accent5">
              <a:lumMod val="60000"/>
              <a:lumOff val="40000"/>
            </a:schemeClr>
          </a:solidFill>
        </p:spPr>
        <p:txBody>
          <a:bodyPr lIns="179967" anchor="ctr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74805" y="1050878"/>
            <a:ext cx="11716850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443530" y="2261652"/>
            <a:ext cx="560158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6387845" y="2261652"/>
            <a:ext cx="5538105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1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EDDE4F-381E-4904-8E4A-86B45F5FCC9F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ftr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0202841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6" y="844553"/>
            <a:ext cx="11110383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537601" y="2088000"/>
            <a:ext cx="35136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4344000" y="2088000"/>
            <a:ext cx="3513600" cy="360000"/>
          </a:xfrm>
          <a:solidFill>
            <a:schemeClr val="bg1">
              <a:lumMod val="85000"/>
            </a:schemeClr>
          </a:solidFill>
        </p:spPr>
        <p:txBody>
          <a:bodyPr lIns="179967" anchor="ctr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37648" y="1513825"/>
            <a:ext cx="11131551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15"/>
          <p:cNvSpPr>
            <a:spLocks noGrp="1"/>
          </p:cNvSpPr>
          <p:nvPr>
            <p:ph type="body" sz="quarter" idx="18"/>
          </p:nvPr>
        </p:nvSpPr>
        <p:spPr>
          <a:xfrm>
            <a:off x="8136001" y="2088000"/>
            <a:ext cx="35136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537601" y="2430000"/>
            <a:ext cx="351360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4344000" y="2430000"/>
            <a:ext cx="351360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8136001" y="2430000"/>
            <a:ext cx="351360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2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7271F2-7CBD-49FF-AC82-FB447FEFDDB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ftr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1621279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6" y="844553"/>
            <a:ext cx="11110383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537602" y="2088000"/>
            <a:ext cx="11112533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37648" y="1513825"/>
            <a:ext cx="11131551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jdelijke aanduiding voor tekst 10"/>
          <p:cNvSpPr>
            <a:spLocks noGrp="1"/>
          </p:cNvSpPr>
          <p:nvPr>
            <p:ph type="body" sz="quarter" idx="18"/>
          </p:nvPr>
        </p:nvSpPr>
        <p:spPr>
          <a:xfrm>
            <a:off x="537607" y="2448000"/>
            <a:ext cx="11112500" cy="957600"/>
          </a:xfrm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ijdelijke aanduiding voor tekst 10"/>
          <p:cNvSpPr>
            <a:spLocks noGrp="1"/>
          </p:cNvSpPr>
          <p:nvPr>
            <p:ph type="body" sz="quarter" idx="19"/>
          </p:nvPr>
        </p:nvSpPr>
        <p:spPr>
          <a:xfrm>
            <a:off x="537639" y="3913200"/>
            <a:ext cx="11112500" cy="957600"/>
          </a:xfrm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ijdelijke aanduiding voor tekst 10"/>
          <p:cNvSpPr>
            <a:spLocks noGrp="1"/>
          </p:cNvSpPr>
          <p:nvPr>
            <p:ph type="body" sz="quarter" idx="20"/>
          </p:nvPr>
        </p:nvSpPr>
        <p:spPr>
          <a:xfrm>
            <a:off x="537639" y="5382000"/>
            <a:ext cx="11112500" cy="957600"/>
          </a:xfrm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ijdelijke aanduiding voor tekst 15"/>
          <p:cNvSpPr>
            <a:spLocks noGrp="1"/>
          </p:cNvSpPr>
          <p:nvPr>
            <p:ph type="body" sz="quarter" idx="21"/>
          </p:nvPr>
        </p:nvSpPr>
        <p:spPr>
          <a:xfrm>
            <a:off x="537602" y="3553200"/>
            <a:ext cx="11112533" cy="360000"/>
          </a:xfrm>
          <a:solidFill>
            <a:schemeClr val="bg1">
              <a:lumMod val="85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ijdelijke aanduiding voor tekst 15"/>
          <p:cNvSpPr>
            <a:spLocks noGrp="1"/>
          </p:cNvSpPr>
          <p:nvPr>
            <p:ph type="body" sz="quarter" idx="22"/>
          </p:nvPr>
        </p:nvSpPr>
        <p:spPr>
          <a:xfrm>
            <a:off x="537635" y="5022000"/>
            <a:ext cx="11112533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3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F3E2E6-0002-40E1-98BA-05E901993722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ftr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79182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3" descr="TG_BM_RGB"/>
          <p:cNvPicPr>
            <a:picLocks noChangeAspect="1" noChangeArrowheads="1"/>
          </p:cNvPicPr>
          <p:nvPr userDrawn="1"/>
        </p:nvPicPr>
        <p:blipFill>
          <a:blip r:embed="rId2" cstate="print"/>
          <a:srcRect l="9850" t="10782" r="9810" b="10782"/>
          <a:stretch>
            <a:fillRect/>
          </a:stretch>
        </p:blipFill>
        <p:spPr bwMode="auto">
          <a:xfrm>
            <a:off x="11391902" y="74614"/>
            <a:ext cx="654050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3" descr="TS_BM_RGB"/>
          <p:cNvPicPr>
            <a:picLocks noChangeAspect="1" noChangeArrowheads="1"/>
          </p:cNvPicPr>
          <p:nvPr userDrawn="1"/>
        </p:nvPicPr>
        <p:blipFill>
          <a:blip r:embed="rId3" cstate="print"/>
          <a:srcRect l="9319" t="32796" r="9198" b="31863"/>
          <a:stretch>
            <a:fillRect/>
          </a:stretch>
        </p:blipFill>
        <p:spPr bwMode="auto">
          <a:xfrm>
            <a:off x="188386" y="6608796"/>
            <a:ext cx="1460501" cy="141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300"/>
            </a:lvl1pPr>
          </a:lstStyle>
          <a:p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7141684" y="9"/>
            <a:ext cx="3530601" cy="296862"/>
          </a:xfrm>
          <a:prstGeom prst="rect">
            <a:avLst/>
          </a:prstGeom>
        </p:spPr>
        <p:txBody>
          <a:bodyPr lIns="83426" tIns="41714" rIns="83426" bIns="41714"/>
          <a:lstStyle>
            <a:lvl1pPr marL="0" indent="0">
              <a:buNone/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4"/>
          </p:nvPr>
        </p:nvSpPr>
        <p:spPr>
          <a:xfrm>
            <a:off x="9825568" y="6475416"/>
            <a:ext cx="1411818" cy="107950"/>
          </a:xfrm>
          <a:prstGeom prst="rect">
            <a:avLst/>
          </a:prstGeom>
        </p:spPr>
        <p:txBody>
          <a:bodyPr lIns="84479" tIns="42239" rIns="84479" bIns="42239"/>
          <a:lstStyle>
            <a:lvl1pPr>
              <a:defRPr/>
            </a:lvl1pPr>
          </a:lstStyle>
          <a:p>
            <a:pPr defTabSz="914271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6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BD539C-7D05-4CDF-9AAA-99238C8D92F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002703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472708" y="1562377"/>
            <a:ext cx="2007593" cy="4761569"/>
            <a:chOff x="404813" y="1566716"/>
            <a:chExt cx="1719262" cy="4774796"/>
          </a:xfrm>
        </p:grpSpPr>
        <p:sp>
          <p:nvSpPr>
            <p:cNvPr id="6" name="Rectangle 5"/>
            <p:cNvSpPr>
              <a:spLocks noChangeArrowheads="1"/>
            </p:cNvSpPr>
            <p:nvPr/>
          </p:nvSpPr>
          <p:spPr bwMode="gray">
            <a:xfrm>
              <a:off x="404813" y="1566716"/>
              <a:ext cx="1719262" cy="968375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00" b="1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7" name="Rectangle 6"/>
            <p:cNvSpPr>
              <a:spLocks noChangeArrowheads="1"/>
            </p:cNvSpPr>
            <p:nvPr/>
          </p:nvSpPr>
          <p:spPr bwMode="gray">
            <a:xfrm>
              <a:off x="404813" y="2836581"/>
              <a:ext cx="1719262" cy="966788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74065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500" b="1">
                  <a:solidFill>
                    <a:srgbClr val="000000"/>
                  </a:solidFill>
                  <a:ea typeface="ＭＳ Ｐゴシック" pitchFamily="34" charset="-128"/>
                </a:rPr>
                <a:t>Text</a:t>
              </a:r>
            </a:p>
          </p:txBody>
        </p:sp>
        <p:sp>
          <p:nvSpPr>
            <p:cNvPr id="8" name="Rectangle 7"/>
            <p:cNvSpPr>
              <a:spLocks noChangeArrowheads="1"/>
            </p:cNvSpPr>
            <p:nvPr/>
          </p:nvSpPr>
          <p:spPr bwMode="gray">
            <a:xfrm>
              <a:off x="404813" y="4104859"/>
              <a:ext cx="1719262" cy="966787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00" b="1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gray">
            <a:xfrm>
              <a:off x="404813" y="5373137"/>
              <a:ext cx="1719262" cy="96837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00" b="1">
                  <a:solidFill>
                    <a:srgbClr val="000000"/>
                  </a:solidFill>
                </a:rPr>
                <a:t>Text</a:t>
              </a:r>
            </a:p>
          </p:txBody>
        </p:sp>
      </p:grpSp>
      <p:sp>
        <p:nvSpPr>
          <p:cNvPr id="10" name="AutoShape 9"/>
          <p:cNvSpPr>
            <a:spLocks noChangeArrowheads="1"/>
          </p:cNvSpPr>
          <p:nvPr userDrawn="1"/>
        </p:nvSpPr>
        <p:spPr bwMode="gray">
          <a:xfrm rot="5400000" flipV="1">
            <a:off x="1340148" y="2447263"/>
            <a:ext cx="310288" cy="420798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99333" tIns="0" rIns="0" bIns="0" anchor="ctr"/>
          <a:lstStyle/>
          <a:p>
            <a:pPr algn="ctr" defTabSz="91427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800" noProof="1">
              <a:solidFill>
                <a:srgbClr val="000000"/>
              </a:solidFill>
            </a:endParaRPr>
          </a:p>
        </p:txBody>
      </p:sp>
      <p:sp>
        <p:nvSpPr>
          <p:cNvPr id="11" name="AutoShape 9"/>
          <p:cNvSpPr>
            <a:spLocks noChangeArrowheads="1"/>
          </p:cNvSpPr>
          <p:nvPr userDrawn="1"/>
        </p:nvSpPr>
        <p:spPr bwMode="gray">
          <a:xfrm rot="5400000" flipV="1">
            <a:off x="1340148" y="3752895"/>
            <a:ext cx="310288" cy="420798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99333" tIns="0" rIns="0" bIns="0" anchor="ctr"/>
          <a:lstStyle/>
          <a:p>
            <a:pPr algn="ctr" defTabSz="91427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800" noProof="1">
              <a:solidFill>
                <a:srgbClr val="000000"/>
              </a:solidFill>
            </a:endParaRPr>
          </a:p>
        </p:txBody>
      </p:sp>
      <p:sp>
        <p:nvSpPr>
          <p:cNvPr id="12" name="AutoShape 9"/>
          <p:cNvSpPr>
            <a:spLocks noChangeArrowheads="1"/>
          </p:cNvSpPr>
          <p:nvPr userDrawn="1"/>
        </p:nvSpPr>
        <p:spPr bwMode="gray">
          <a:xfrm rot="5400000" flipV="1">
            <a:off x="1340148" y="5004241"/>
            <a:ext cx="310288" cy="420798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99333" tIns="0" rIns="0" bIns="0" anchor="ctr"/>
          <a:lstStyle/>
          <a:p>
            <a:pPr algn="ctr" defTabSz="91427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800" noProof="1">
              <a:solidFill>
                <a:srgbClr val="000000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526762" y="1522944"/>
            <a:ext cx="9087087" cy="1008627"/>
          </a:xfrm>
          <a:prstGeom prst="rect">
            <a:avLst/>
          </a:prstGeom>
          <a:noFill/>
          <a:ln>
            <a:noFill/>
          </a:ln>
        </p:spPr>
        <p:txBody>
          <a:bodyPr wrap="square" lIns="84469" tIns="42236" rIns="84469" bIns="42236" rtlCol="0">
            <a:spAutoFit/>
          </a:bodyPr>
          <a:lstStyle/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2526762" y="2773690"/>
            <a:ext cx="9087087" cy="1008627"/>
          </a:xfrm>
          <a:prstGeom prst="rect">
            <a:avLst/>
          </a:prstGeom>
          <a:noFill/>
          <a:ln>
            <a:noFill/>
          </a:ln>
        </p:spPr>
        <p:txBody>
          <a:bodyPr wrap="square" lIns="84469" tIns="42236" rIns="84469" bIns="42236" rtlCol="0">
            <a:spAutoFit/>
          </a:bodyPr>
          <a:lstStyle/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526762" y="5277886"/>
            <a:ext cx="9087087" cy="1008627"/>
          </a:xfrm>
          <a:prstGeom prst="rect">
            <a:avLst/>
          </a:prstGeom>
          <a:noFill/>
          <a:ln>
            <a:noFill/>
          </a:ln>
        </p:spPr>
        <p:txBody>
          <a:bodyPr wrap="square" lIns="84469" tIns="42236" rIns="84469" bIns="42236" rtlCol="0">
            <a:spAutoFit/>
          </a:bodyPr>
          <a:lstStyle/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2526762" y="4023351"/>
            <a:ext cx="9087087" cy="1008627"/>
          </a:xfrm>
          <a:prstGeom prst="rect">
            <a:avLst/>
          </a:prstGeom>
          <a:noFill/>
          <a:ln>
            <a:noFill/>
          </a:ln>
        </p:spPr>
        <p:txBody>
          <a:bodyPr wrap="square" lIns="84469" tIns="42236" rIns="84469" bIns="42236" rtlCol="0">
            <a:spAutoFit/>
          </a:bodyPr>
          <a:lstStyle/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7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5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00" indent="-179967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709083447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 userDrawn="1"/>
        </p:nvGraphicFramePr>
        <p:xfrm>
          <a:off x="436023" y="1363806"/>
          <a:ext cx="11094066" cy="5185395"/>
        </p:xfrm>
        <a:graphic>
          <a:graphicData uri="http://schemas.openxmlformats.org/drawingml/2006/table">
            <a:tbl>
              <a:tblPr firstRow="1"/>
              <a:tblGrid>
                <a:gridCol w="4181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592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06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136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5731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5731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IN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N</a:t>
                      </a:r>
                      <a:endParaRPr lang="en-US" sz="1400" b="1" i="0" u="none" strike="noStrike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Area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kern="1200" cap="all">
                          <a:solidFill>
                            <a:srgbClr val="31A93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</a:t>
                      </a:r>
                      <a:endParaRPr lang="en-US" sz="1900" kern="1200">
                        <a:solidFill>
                          <a:srgbClr val="31A93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en-IN" sz="1400" b="1">
                          <a:solidFill>
                            <a:srgbClr val="FF0000"/>
                          </a:solidFill>
                        </a:rPr>
                        <a:t>X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9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1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3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4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7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5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00" indent="-179967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19066015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123" y="493826"/>
            <a:ext cx="11843810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25529" y="1008766"/>
            <a:ext cx="11667569" cy="369888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3234993" y="1596984"/>
            <a:ext cx="8529599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3234993" y="4884939"/>
            <a:ext cx="8529599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3234993" y="3240961"/>
            <a:ext cx="8529599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jdelijke aanduiding voor afbeelding 12"/>
          <p:cNvSpPr>
            <a:spLocks noGrp="1"/>
          </p:cNvSpPr>
          <p:nvPr>
            <p:ph type="pic" sz="quarter" idx="22"/>
          </p:nvPr>
        </p:nvSpPr>
        <p:spPr>
          <a:xfrm>
            <a:off x="312118" y="1596984"/>
            <a:ext cx="2685029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/>
          </p:cNvSpPr>
          <p:nvPr>
            <p:ph type="pic" sz="quarter" idx="23"/>
          </p:nvPr>
        </p:nvSpPr>
        <p:spPr>
          <a:xfrm>
            <a:off x="295690" y="3240961"/>
            <a:ext cx="2699305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5" name="Tijdelijke aanduiding voor afbeelding 12"/>
          <p:cNvSpPr>
            <a:spLocks noGrp="1"/>
          </p:cNvSpPr>
          <p:nvPr>
            <p:ph type="pic" sz="quarter" idx="24"/>
          </p:nvPr>
        </p:nvSpPr>
        <p:spPr>
          <a:xfrm>
            <a:off x="328545" y="4884939"/>
            <a:ext cx="2666450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5"/>
          </p:nvPr>
        </p:nvSpPr>
        <p:spPr>
          <a:xfrm>
            <a:off x="11641138" y="167389"/>
            <a:ext cx="670982" cy="215900"/>
          </a:xfrm>
          <a:prstGeom prst="rect">
            <a:avLst/>
          </a:prstGeom>
          <a:ln/>
        </p:spPr>
        <p:txBody>
          <a:bodyPr lIns="91436" tIns="45718" rIns="91436" bIns="45718"/>
          <a:lstStyle>
            <a:lvl1pPr>
              <a:defRPr/>
            </a:lvl1pPr>
          </a:lstStyle>
          <a:p>
            <a:pPr>
              <a:defRPr/>
            </a:pPr>
            <a:fld id="{F1C7F818-1137-44F4-B6D6-BECAD6B9515E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ftr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317290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1886074" y="2701587"/>
            <a:ext cx="1408890" cy="54477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ctr"/>
          <a:lstStyle/>
          <a:p>
            <a:pPr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246674" y="3336695"/>
            <a:ext cx="1408890" cy="808088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ctr"/>
          <a:lstStyle/>
          <a:p>
            <a:pPr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4612535" y="4354209"/>
            <a:ext cx="1408890" cy="201922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ctr"/>
          <a:lstStyle/>
          <a:p>
            <a:pPr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525460" y="1492844"/>
            <a:ext cx="11221609" cy="308998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ctr"/>
          <a:lstStyle/>
          <a:p>
            <a:pPr algn="ctr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800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1" name="Bent-Up Arrow 20"/>
          <p:cNvSpPr/>
          <p:nvPr userDrawn="1"/>
        </p:nvSpPr>
        <p:spPr>
          <a:xfrm rot="5400000">
            <a:off x="3379878" y="4018557"/>
            <a:ext cx="1099463" cy="1365860"/>
          </a:xfrm>
          <a:prstGeom prst="bentUpArrow">
            <a:avLst>
              <a:gd name="adj1" fmla="val 25000"/>
              <a:gd name="adj2" fmla="val 2589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ctr"/>
          <a:lstStyle/>
          <a:p>
            <a:pPr algn="ctr" defTabSz="914271" fontAlgn="base">
              <a:spcBef>
                <a:spcPct val="0"/>
              </a:spcBef>
              <a:spcAft>
                <a:spcPct val="0"/>
              </a:spcAft>
            </a:pPr>
            <a:endParaRPr lang="en-IN" sz="180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1941769" y="1950388"/>
            <a:ext cx="9733391" cy="58047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t" anchorCtr="0"/>
          <a:lstStyle/>
          <a:p>
            <a:pPr marL="158397" indent="-158397" defTabSz="914271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1100">
                <a:solidFill>
                  <a:srgbClr val="000000"/>
                </a:solidFill>
              </a:rPr>
              <a:t>Text</a:t>
            </a:r>
          </a:p>
          <a:p>
            <a:pPr marL="158397" indent="-158397" defTabSz="914271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110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3252287" y="2701607"/>
            <a:ext cx="8422873" cy="54620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t" anchorCtr="0"/>
          <a:lstStyle/>
          <a:p>
            <a:pPr marL="158397" indent="-158397" defTabSz="914271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1100">
                <a:solidFill>
                  <a:srgbClr val="000000"/>
                </a:solidFill>
              </a:rPr>
              <a:t> </a:t>
            </a:r>
          </a:p>
          <a:p>
            <a:pPr marL="158397" indent="-158397" defTabSz="914271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endParaRPr lang="en-IN" sz="1100">
              <a:solidFill>
                <a:srgbClr val="000000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4667154" y="3336698"/>
            <a:ext cx="7008014" cy="80751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t" anchorCtr="0"/>
          <a:lstStyle/>
          <a:p>
            <a:pPr marL="158397" indent="-158397" defTabSz="914271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1100">
                <a:solidFill>
                  <a:srgbClr val="000000"/>
                </a:solidFill>
              </a:rPr>
              <a:t>Text 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6061768" y="4354210"/>
            <a:ext cx="5613409" cy="201922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t" anchorCtr="0"/>
          <a:lstStyle/>
          <a:p>
            <a:pPr marL="158397" indent="-158397" defTabSz="914271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1100">
                <a:solidFill>
                  <a:srgbClr val="000000"/>
                </a:solidFill>
              </a:rPr>
              <a:t>Text </a:t>
            </a:r>
          </a:p>
          <a:p>
            <a:pPr marL="158397" indent="-158397" defTabSz="914271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endParaRPr lang="en-IN" sz="1100">
              <a:solidFill>
                <a:srgbClr val="000000"/>
              </a:solidFill>
            </a:endParaRPr>
          </a:p>
        </p:txBody>
      </p:sp>
      <p:sp>
        <p:nvSpPr>
          <p:cNvPr id="26" name="Bent-Up Arrow 25"/>
          <p:cNvSpPr/>
          <p:nvPr userDrawn="1"/>
        </p:nvSpPr>
        <p:spPr>
          <a:xfrm rot="5400000">
            <a:off x="2115664" y="3020745"/>
            <a:ext cx="901433" cy="1360598"/>
          </a:xfrm>
          <a:prstGeom prst="bentUpArrow">
            <a:avLst>
              <a:gd name="adj1" fmla="val 25000"/>
              <a:gd name="adj2" fmla="val 2589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ctr"/>
          <a:lstStyle/>
          <a:p>
            <a:pPr algn="ctr" defTabSz="914271" fontAlgn="base">
              <a:spcBef>
                <a:spcPct val="0"/>
              </a:spcBef>
              <a:spcAft>
                <a:spcPct val="0"/>
              </a:spcAft>
            </a:pPr>
            <a:endParaRPr lang="en-IN" sz="1800">
              <a:solidFill>
                <a:srgbClr val="FFFFFF"/>
              </a:solidFill>
            </a:endParaRPr>
          </a:p>
        </p:txBody>
      </p:sp>
      <p:sp>
        <p:nvSpPr>
          <p:cNvPr id="27" name="Bent-Up Arrow 26"/>
          <p:cNvSpPr/>
          <p:nvPr userDrawn="1"/>
        </p:nvSpPr>
        <p:spPr>
          <a:xfrm rot="5400000">
            <a:off x="847275" y="2207557"/>
            <a:ext cx="717007" cy="1360601"/>
          </a:xfrm>
          <a:prstGeom prst="bentUpArrow">
            <a:avLst>
              <a:gd name="adj1" fmla="val 25000"/>
              <a:gd name="adj2" fmla="val 24912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ctr"/>
          <a:lstStyle/>
          <a:p>
            <a:pPr algn="ctr" defTabSz="914271" fontAlgn="base">
              <a:spcBef>
                <a:spcPct val="0"/>
              </a:spcBef>
              <a:spcAft>
                <a:spcPct val="0"/>
              </a:spcAft>
            </a:pPr>
            <a:endParaRPr lang="en-IN" sz="1800">
              <a:solidFill>
                <a:srgbClr val="FFFFF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525474" y="1950395"/>
            <a:ext cx="1408890" cy="578957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ctr"/>
          <a:lstStyle/>
          <a:p>
            <a:pPr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9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5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00" indent="-179967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513614171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/>
        </p:nvGraphicFramePr>
        <p:xfrm>
          <a:off x="279267" y="1349769"/>
          <a:ext cx="11712395" cy="5061360"/>
        </p:xfrm>
        <a:graphic>
          <a:graphicData uri="http://schemas.openxmlformats.org/drawingml/2006/table">
            <a:tbl>
              <a:tblPr firstRow="1"/>
              <a:tblGrid>
                <a:gridCol w="3534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466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251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8871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IN" sz="14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SN</a:t>
                      </a:r>
                      <a:endParaRPr lang="en-US" sz="14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Area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Progress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Remarks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6187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1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ctr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kern="1200">
                        <a:solidFill>
                          <a:srgbClr val="31A93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037" marR="42037" marT="35900" marB="3590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lvl="0" indent="0" algn="l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>
                        <a:solidFill>
                          <a:srgbClr val="31A93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6187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2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kern="1200">
                        <a:solidFill>
                          <a:srgbClr val="FF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037" marR="42037" marT="35900" marB="3590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3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4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6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7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8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9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10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6" name="Up Arrow 5"/>
          <p:cNvSpPr/>
          <p:nvPr userDrawn="1"/>
        </p:nvSpPr>
        <p:spPr bwMode="auto">
          <a:xfrm>
            <a:off x="6422926" y="1879849"/>
            <a:ext cx="252224" cy="323102"/>
          </a:xfrm>
          <a:prstGeom prst="upArrow">
            <a:avLst/>
          </a:prstGeom>
          <a:solidFill>
            <a:srgbClr val="00B050"/>
          </a:solidFill>
          <a:ln w="19050" cap="flat" cmpd="sng" algn="ctr">
            <a:solidFill>
              <a:srgbClr val="00B05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84479" tIns="42239" rIns="84479" bIns="42239" numCol="1" rtlCol="0" anchor="ctr" anchorCtr="0" compatLnSpc="1">
            <a:prstTxWarp prst="textNoShape">
              <a:avLst/>
            </a:prstTxWarp>
          </a:bodyPr>
          <a:lstStyle/>
          <a:p>
            <a:pPr algn="ctr" defTabSz="844786" fontAlgn="base">
              <a:spcBef>
                <a:spcPct val="0"/>
              </a:spcBef>
              <a:spcAft>
                <a:spcPct val="0"/>
              </a:spcAft>
            </a:pPr>
            <a:endParaRPr lang="en-IN" sz="1700">
              <a:solidFill>
                <a:srgbClr val="000000"/>
              </a:solidFill>
            </a:endParaRPr>
          </a:p>
        </p:txBody>
      </p:sp>
      <p:sp>
        <p:nvSpPr>
          <p:cNvPr id="7" name="Up Arrow 6"/>
          <p:cNvSpPr/>
          <p:nvPr userDrawn="1"/>
        </p:nvSpPr>
        <p:spPr bwMode="auto">
          <a:xfrm>
            <a:off x="6422926" y="2833804"/>
            <a:ext cx="252224" cy="323102"/>
          </a:xfrm>
          <a:prstGeom prst="upArrow">
            <a:avLst/>
          </a:prstGeom>
          <a:solidFill>
            <a:srgbClr val="00B050"/>
          </a:solidFill>
          <a:ln w="19050" cap="flat" cmpd="sng" algn="ctr">
            <a:solidFill>
              <a:srgbClr val="00B05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84479" tIns="42239" rIns="84479" bIns="42239" numCol="1" rtlCol="0" anchor="ctr" anchorCtr="0" compatLnSpc="1">
            <a:prstTxWarp prst="textNoShape">
              <a:avLst/>
            </a:prstTxWarp>
          </a:bodyPr>
          <a:lstStyle/>
          <a:p>
            <a:pPr algn="ctr" defTabSz="844786" fontAlgn="base">
              <a:spcBef>
                <a:spcPct val="0"/>
              </a:spcBef>
              <a:spcAft>
                <a:spcPct val="0"/>
              </a:spcAft>
            </a:pPr>
            <a:endParaRPr lang="en-IN" sz="1700">
              <a:solidFill>
                <a:srgbClr val="000000"/>
              </a:solidFill>
            </a:endParaRPr>
          </a:p>
        </p:txBody>
      </p:sp>
      <p:sp>
        <p:nvSpPr>
          <p:cNvPr id="8" name="Up Arrow 7"/>
          <p:cNvSpPr/>
          <p:nvPr userDrawn="1"/>
        </p:nvSpPr>
        <p:spPr bwMode="auto">
          <a:xfrm flipV="1">
            <a:off x="6422926" y="2384885"/>
            <a:ext cx="252224" cy="323102"/>
          </a:xfrm>
          <a:prstGeom prst="upArrow">
            <a:avLst/>
          </a:prstGeom>
          <a:solidFill>
            <a:srgbClr val="EB5335"/>
          </a:solidFill>
          <a:ln w="19050" cap="flat" cmpd="sng" algn="ctr">
            <a:solidFill>
              <a:srgbClr val="EB5335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84479" tIns="42239" rIns="84479" bIns="42239" numCol="1" rtlCol="0" anchor="ctr" anchorCtr="0" compatLnSpc="1">
            <a:prstTxWarp prst="textNoShape">
              <a:avLst/>
            </a:prstTxWarp>
          </a:bodyPr>
          <a:lstStyle/>
          <a:p>
            <a:pPr algn="ctr" defTabSz="844786" fontAlgn="base">
              <a:spcBef>
                <a:spcPct val="0"/>
              </a:spcBef>
              <a:spcAft>
                <a:spcPct val="0"/>
              </a:spcAft>
            </a:pPr>
            <a:endParaRPr lang="en-IN" sz="1700">
              <a:solidFill>
                <a:srgbClr val="000000"/>
              </a:solidFill>
            </a:endParaRP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5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00" indent="-179967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92515235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6195" y="1140024"/>
            <a:ext cx="11332606" cy="5121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6" name="Oval 25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237296" y="1155192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626195" y="2005565"/>
            <a:ext cx="11332606" cy="5555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" name="Oval 26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238512" y="207043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26195" y="2914521"/>
            <a:ext cx="11332606" cy="5710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0" name="Oval 26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229072" y="2970600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626195" y="3838962"/>
            <a:ext cx="11332606" cy="5439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2" name="Oval 26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247008" y="3874664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626195" y="4736287"/>
            <a:ext cx="11332606" cy="4936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159864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4" name="Oval 263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258278" y="4765994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626195" y="5521901"/>
            <a:ext cx="11332606" cy="4936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159864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6" name="Oval 263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258278" y="555160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352122808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805497" y="1659044"/>
            <a:ext cx="6126673" cy="6897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6" name="Oval 25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513638" y="1772438"/>
            <a:ext cx="546486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805497" y="2524605"/>
            <a:ext cx="6126673" cy="7481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" name="Oval 26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14854" y="2673652"/>
            <a:ext cx="546486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5497" y="3433565"/>
            <a:ext cx="6126673" cy="76902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0" name="Oval 26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505414" y="3587847"/>
            <a:ext cx="546486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805497" y="4358004"/>
            <a:ext cx="6126673" cy="7325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2" name="Oval 26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523354" y="4491910"/>
            <a:ext cx="546486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805497" y="5255356"/>
            <a:ext cx="6126673" cy="66479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4" name="Oval 263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485340" y="5341153"/>
            <a:ext cx="546486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9478895" y="1667816"/>
            <a:ext cx="2233504" cy="689739"/>
          </a:xfrm>
          <a:prstGeom prst="rect">
            <a:avLst/>
          </a:prstGeom>
          <a:solidFill>
            <a:srgbClr val="E2FFC5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9478895" y="2533378"/>
            <a:ext cx="2233504" cy="748180"/>
          </a:xfrm>
          <a:prstGeom prst="rect">
            <a:avLst/>
          </a:prstGeom>
          <a:solidFill>
            <a:srgbClr val="E2FFC5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478895" y="3442338"/>
            <a:ext cx="2233504" cy="769026"/>
          </a:xfrm>
          <a:prstGeom prst="rect">
            <a:avLst/>
          </a:prstGeom>
          <a:solidFill>
            <a:srgbClr val="E2FFC5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9478895" y="4366780"/>
            <a:ext cx="2233504" cy="732512"/>
          </a:xfrm>
          <a:prstGeom prst="rect">
            <a:avLst/>
          </a:prstGeom>
          <a:solidFill>
            <a:srgbClr val="E2FFC5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9478895" y="5264132"/>
            <a:ext cx="2233504" cy="664795"/>
          </a:xfrm>
          <a:prstGeom prst="rect">
            <a:avLst/>
          </a:prstGeom>
          <a:solidFill>
            <a:srgbClr val="E2FFC5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159864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7096987" y="1667816"/>
            <a:ext cx="2233504" cy="689739"/>
          </a:xfrm>
          <a:prstGeom prst="rect">
            <a:avLst/>
          </a:prstGeom>
          <a:solidFill>
            <a:srgbClr val="F8D9FF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7096987" y="2533378"/>
            <a:ext cx="2233504" cy="748180"/>
          </a:xfrm>
          <a:prstGeom prst="rect">
            <a:avLst/>
          </a:prstGeom>
          <a:solidFill>
            <a:srgbClr val="F8D9FF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7096987" y="3442338"/>
            <a:ext cx="2233504" cy="769026"/>
          </a:xfrm>
          <a:prstGeom prst="rect">
            <a:avLst/>
          </a:prstGeom>
          <a:solidFill>
            <a:srgbClr val="F8D9FF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7096987" y="4366780"/>
            <a:ext cx="2233504" cy="732512"/>
          </a:xfrm>
          <a:prstGeom prst="rect">
            <a:avLst/>
          </a:prstGeom>
          <a:solidFill>
            <a:srgbClr val="F8D9FF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7096987" y="5264132"/>
            <a:ext cx="2233504" cy="664795"/>
          </a:xfrm>
          <a:prstGeom prst="rect">
            <a:avLst/>
          </a:prstGeom>
          <a:solidFill>
            <a:srgbClr val="F8D9FF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7409359" y="1306418"/>
            <a:ext cx="1228590" cy="316135"/>
          </a:xfrm>
          <a:prstGeom prst="rect">
            <a:avLst/>
          </a:prstGeom>
          <a:noFill/>
        </p:spPr>
        <p:txBody>
          <a:bodyPr wrap="none" lIns="84479" tIns="42239" rIns="84479" bIns="42239" rtlCol="0">
            <a:spAutoFit/>
          </a:bodyPr>
          <a:lstStyle/>
          <a:p>
            <a:pPr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Description</a:t>
            </a:r>
            <a:endParaRPr lang="en-US" sz="1500" b="1">
              <a:solidFill>
                <a:srgbClr val="000000"/>
              </a:solidFill>
            </a:endParaRPr>
          </a:p>
        </p:txBody>
      </p:sp>
      <p:sp>
        <p:nvSpPr>
          <p:cNvPr id="26" name="TextBox 25"/>
          <p:cNvSpPr txBox="1"/>
          <p:nvPr userDrawn="1"/>
        </p:nvSpPr>
        <p:spPr>
          <a:xfrm>
            <a:off x="9796354" y="1290698"/>
            <a:ext cx="1228590" cy="316135"/>
          </a:xfrm>
          <a:prstGeom prst="rect">
            <a:avLst/>
          </a:prstGeom>
          <a:noFill/>
        </p:spPr>
        <p:txBody>
          <a:bodyPr wrap="none" lIns="84479" tIns="42239" rIns="84479" bIns="42239" rtlCol="0">
            <a:spAutoFit/>
          </a:bodyPr>
          <a:lstStyle/>
          <a:p>
            <a:pPr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Description</a:t>
            </a:r>
            <a:endParaRPr lang="en-US" sz="1500" b="1">
              <a:solidFill>
                <a:srgbClr val="000000"/>
              </a:solidFill>
            </a:endParaRPr>
          </a:p>
        </p:txBody>
      </p:sp>
      <p:sp>
        <p:nvSpPr>
          <p:cNvPr id="27" name="TextBox 26"/>
          <p:cNvSpPr txBox="1"/>
          <p:nvPr userDrawn="1"/>
        </p:nvSpPr>
        <p:spPr>
          <a:xfrm>
            <a:off x="805489" y="1306451"/>
            <a:ext cx="1228590" cy="316135"/>
          </a:xfrm>
          <a:prstGeom prst="rect">
            <a:avLst/>
          </a:prstGeom>
          <a:noFill/>
        </p:spPr>
        <p:txBody>
          <a:bodyPr wrap="none" lIns="84479" tIns="42239" rIns="84479" bIns="42239" rtlCol="0">
            <a:spAutoFit/>
          </a:bodyPr>
          <a:lstStyle/>
          <a:p>
            <a:pPr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Description</a:t>
            </a:r>
            <a:endParaRPr lang="en-US" sz="1500" b="1">
              <a:solidFill>
                <a:srgbClr val="000000"/>
              </a:solidFill>
            </a:endParaRPr>
          </a:p>
        </p:txBody>
      </p:sp>
      <p:sp>
        <p:nvSpPr>
          <p:cNvPr id="28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5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00" indent="-179967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4916264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aphicFrame>
        <p:nvGraphicFramePr>
          <p:cNvPr id="5" name="Content Placeholder 3"/>
          <p:cNvGraphicFramePr>
            <a:graphicFrameLocks/>
          </p:cNvGraphicFramePr>
          <p:nvPr userDrawn="1"/>
        </p:nvGraphicFramePr>
        <p:xfrm>
          <a:off x="525665" y="1463064"/>
          <a:ext cx="11153882" cy="5183727"/>
        </p:xfrm>
        <a:graphic>
          <a:graphicData uri="http://schemas.openxmlformats.org/drawingml/2006/table">
            <a:tbl>
              <a:tblPr firstRow="1" bandRow="1"/>
              <a:tblGrid>
                <a:gridCol w="5256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98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2483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5916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SN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Particulars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Remarks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4461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1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endParaRPr lang="en-US" sz="1400" baseline="0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226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2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6669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3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0113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4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5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00" indent="-179967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495052532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/>
        </p:nvGraphicFramePr>
        <p:xfrm>
          <a:off x="525666" y="1401714"/>
          <a:ext cx="11137454" cy="2348293"/>
        </p:xfrm>
        <a:graphic>
          <a:graphicData uri="http://schemas.openxmlformats.org/drawingml/2006/table">
            <a:tbl>
              <a:tblPr/>
              <a:tblGrid>
                <a:gridCol w="20236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39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677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20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633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7986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6343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71044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75259">
                <a:tc>
                  <a:txBody>
                    <a:bodyPr/>
                    <a:lstStyle/>
                    <a:p>
                      <a:pPr algn="ctr" fontAlgn="b"/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oM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Change Q/Q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Change Y/Y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marks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6" name="Group 5"/>
          <p:cNvGrpSpPr/>
          <p:nvPr userDrawn="1"/>
        </p:nvGrpSpPr>
        <p:grpSpPr>
          <a:xfrm>
            <a:off x="530983" y="4193069"/>
            <a:ext cx="11148564" cy="2232086"/>
            <a:chOff x="123367" y="5147491"/>
            <a:chExt cx="8864071" cy="1583827"/>
          </a:xfrm>
        </p:grpSpPr>
        <p:sp>
          <p:nvSpPr>
            <p:cNvPr id="7" name="Tijdelijke aanduiding voor verticale tekst 24"/>
            <p:cNvSpPr txBox="1">
              <a:spLocks/>
            </p:cNvSpPr>
            <p:nvPr/>
          </p:nvSpPr>
          <p:spPr>
            <a:xfrm>
              <a:off x="123367" y="5405493"/>
              <a:ext cx="8864069" cy="1325825"/>
            </a:xfrm>
            <a:prstGeom prst="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 vert="horz" lIns="91440" tIns="45720" rIns="91440" bIns="45720" rtlCol="0">
              <a:norm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5611" lvl="1" fontAlgn="base">
                <a:spcAft>
                  <a:spcPct val="0"/>
                </a:spcAft>
                <a:buFont typeface="Wingdings" pitchFamily="2" charset="2"/>
                <a:buChar char="§"/>
              </a:pPr>
              <a:r>
                <a:rPr lang="en-GB" sz="1300">
                  <a:solidFill>
                    <a:srgbClr val="000000"/>
                  </a:solidFill>
                </a:rPr>
                <a:t>Text</a:t>
              </a:r>
              <a:endParaRPr lang="en-GB" sz="1100">
                <a:solidFill>
                  <a:srgbClr val="000000"/>
                </a:solidFill>
              </a:endParaRPr>
            </a:p>
          </p:txBody>
        </p:sp>
        <p:sp>
          <p:nvSpPr>
            <p:cNvPr id="8" name="Tijdelijke aanduiding voor verticale tekst 25"/>
            <p:cNvSpPr txBox="1">
              <a:spLocks/>
            </p:cNvSpPr>
            <p:nvPr/>
          </p:nvSpPr>
          <p:spPr>
            <a:xfrm>
              <a:off x="123368" y="5147491"/>
              <a:ext cx="8864070" cy="258002"/>
            </a:xfrm>
            <a:prstGeom prst="rect">
              <a:avLst/>
            </a:prstGeom>
            <a:solidFill>
              <a:schemeClr val="accent6">
                <a:lumMod val="10000"/>
                <a:lumOff val="90000"/>
              </a:schemeClr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 vert="horz" wrap="none" lIns="180000" tIns="72000" rIns="216000" bIns="4572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3"/>
                </a:buClr>
                <a:buFont typeface="Wingdings" panose="05000000000000000000" pitchFamily="2" charset="2"/>
                <a:buNone/>
                <a:defRPr sz="1800" b="1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177800" indent="-17780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5600" indent="-17780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3400" indent="-174625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725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i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563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5600" indent="-173038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tabLst/>
                <a:defRPr sz="16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8163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81957" fontAlgn="base">
                <a:lnSpc>
                  <a:spcPts val="1736"/>
                </a:lnSpc>
                <a:spcBef>
                  <a:spcPts val="578"/>
                </a:spcBef>
                <a:spcAft>
                  <a:spcPts val="578"/>
                </a:spcAft>
                <a:buClr>
                  <a:srgbClr val="FFA100"/>
                </a:buClr>
                <a:defRPr/>
              </a:pPr>
              <a:r>
                <a:rPr lang="en-US" sz="1500">
                  <a:solidFill>
                    <a:srgbClr val="000000"/>
                  </a:solidFill>
                </a:rPr>
                <a:t>Highlights</a:t>
              </a:r>
            </a:p>
          </p:txBody>
        </p:sp>
      </p:grpSp>
      <p:graphicFrame>
        <p:nvGraphicFramePr>
          <p:cNvPr id="9" name="Table 8"/>
          <p:cNvGraphicFramePr>
            <a:graphicFrameLocks noGrp="1"/>
          </p:cNvGraphicFramePr>
          <p:nvPr userDrawn="1"/>
        </p:nvGraphicFramePr>
        <p:xfrm>
          <a:off x="503757" y="3858781"/>
          <a:ext cx="11175782" cy="219415"/>
        </p:xfrm>
        <a:graphic>
          <a:graphicData uri="http://schemas.openxmlformats.org/drawingml/2006/table">
            <a:tbl>
              <a:tblPr/>
              <a:tblGrid>
                <a:gridCol w="27939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939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753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1252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941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ey</a:t>
                      </a:r>
                    </a:p>
                  </a:txBody>
                  <a:tcPr marL="11826" marR="11826" marT="967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11826" marR="11826" marT="96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11826" marR="11826" marT="96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6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11826" marR="11826" marT="9674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0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5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00" indent="-179967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237427894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Pentagon 4"/>
          <p:cNvSpPr/>
          <p:nvPr userDrawn="1"/>
        </p:nvSpPr>
        <p:spPr bwMode="auto">
          <a:xfrm>
            <a:off x="6012268" y="1599272"/>
            <a:ext cx="5913697" cy="4966170"/>
          </a:xfrm>
          <a:prstGeom prst="homePlate">
            <a:avLst>
              <a:gd name="adj" fmla="val 507"/>
            </a:avLst>
          </a:prstGeom>
          <a:solidFill>
            <a:schemeClr val="bg1"/>
          </a:solidFill>
          <a:ln w="3810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66297" tIns="166297" rIns="166297" bIns="166297" numCol="1" rtlCol="0" anchor="t" anchorCtr="0" compatLnSpc="1">
            <a:prstTxWarp prst="textNoShape">
              <a:avLst/>
            </a:prstTxWarp>
          </a:bodyPr>
          <a:lstStyle/>
          <a:p>
            <a:pPr defTabSz="844786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  <a:endParaRPr lang="en-IN" sz="1700" b="1">
              <a:solidFill>
                <a:srgbClr val="000000"/>
              </a:solidFill>
            </a:endParaRPr>
          </a:p>
          <a:p>
            <a:pPr marL="420926" indent="-263997" defTabSz="844786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1500">
                <a:solidFill>
                  <a:srgbClr val="000000"/>
                </a:solidFill>
              </a:rPr>
              <a:t>Text</a:t>
            </a:r>
          </a:p>
          <a:p>
            <a:pPr marL="420926" indent="-263997" defTabSz="844786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1500">
                <a:solidFill>
                  <a:srgbClr val="000000"/>
                </a:solidFill>
              </a:rPr>
              <a:t>Text</a:t>
            </a:r>
            <a:endParaRPr lang="en-IN" sz="1500" b="1">
              <a:solidFill>
                <a:srgbClr val="000000"/>
              </a:solidFill>
            </a:endParaRPr>
          </a:p>
        </p:txBody>
      </p:sp>
      <p:sp>
        <p:nvSpPr>
          <p:cNvPr id="6" name="Pentagon 5"/>
          <p:cNvSpPr/>
          <p:nvPr userDrawn="1"/>
        </p:nvSpPr>
        <p:spPr bwMode="auto">
          <a:xfrm>
            <a:off x="312105" y="1599272"/>
            <a:ext cx="5946545" cy="4966170"/>
          </a:xfrm>
          <a:prstGeom prst="homePlate">
            <a:avLst>
              <a:gd name="adj" fmla="val 8913"/>
            </a:avLst>
          </a:prstGeom>
          <a:solidFill>
            <a:schemeClr val="tx2">
              <a:lumMod val="20000"/>
              <a:lumOff val="80000"/>
            </a:schemeClr>
          </a:solidFill>
          <a:ln w="2857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66297" tIns="166297" rIns="166297" bIns="166297" numCol="1" rtlCol="0" anchor="t" anchorCtr="0" compatLnSpc="1">
            <a:prstTxWarp prst="textNoShape">
              <a:avLst/>
            </a:prstTxWarp>
          </a:bodyPr>
          <a:lstStyle/>
          <a:p>
            <a:pPr defTabSz="844786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  <a:endParaRPr lang="en-IN" sz="1700" b="1">
              <a:solidFill>
                <a:srgbClr val="000000"/>
              </a:solidFill>
            </a:endParaRPr>
          </a:p>
          <a:p>
            <a:pPr marL="420926" indent="-263997" defTabSz="844786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1500">
                <a:solidFill>
                  <a:srgbClr val="000000"/>
                </a:solidFill>
              </a:rPr>
              <a:t>Text</a:t>
            </a:r>
          </a:p>
          <a:p>
            <a:pPr marL="420926" indent="-263997" defTabSz="844786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150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91244" y="1106983"/>
            <a:ext cx="11634721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4924434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aphicFrame>
        <p:nvGraphicFramePr>
          <p:cNvPr id="5" name="Diagram 4"/>
          <p:cNvGraphicFramePr/>
          <p:nvPr userDrawn="1"/>
        </p:nvGraphicFramePr>
        <p:xfrm>
          <a:off x="537168" y="1585250"/>
          <a:ext cx="6444292" cy="46715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6981460" y="3194477"/>
            <a:ext cx="4714527" cy="1008627"/>
          </a:xfrm>
          <a:prstGeom prst="rect">
            <a:avLst/>
          </a:prstGeom>
          <a:noFill/>
          <a:ln>
            <a:noFill/>
          </a:ln>
        </p:spPr>
        <p:txBody>
          <a:bodyPr wrap="square" lIns="84469" tIns="42236" rIns="84469" bIns="42236" rtlCol="0">
            <a:spAutoFit/>
          </a:bodyPr>
          <a:lstStyle/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TEXT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6981460" y="1567143"/>
            <a:ext cx="4714527" cy="1008627"/>
          </a:xfrm>
          <a:prstGeom prst="rect">
            <a:avLst/>
          </a:prstGeom>
          <a:noFill/>
          <a:ln>
            <a:noFill/>
          </a:ln>
        </p:spPr>
        <p:txBody>
          <a:bodyPr wrap="square" lIns="84469" tIns="42236" rIns="84469" bIns="42236" rtlCol="0">
            <a:spAutoFit/>
          </a:bodyPr>
          <a:lstStyle/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TEXT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6981460" y="4821829"/>
            <a:ext cx="4714527" cy="1008627"/>
          </a:xfrm>
          <a:prstGeom prst="rect">
            <a:avLst/>
          </a:prstGeom>
          <a:noFill/>
          <a:ln>
            <a:noFill/>
          </a:ln>
        </p:spPr>
        <p:txBody>
          <a:bodyPr wrap="square" lIns="84469" tIns="42236" rIns="84469" bIns="42236" rtlCol="0">
            <a:spAutoFit/>
          </a:bodyPr>
          <a:lstStyle/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TEXT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5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00" indent="-179967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783309055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50588" y="1494335"/>
            <a:ext cx="2942619" cy="2513019"/>
          </a:xfrm>
          <a:prstGeom prst="rect">
            <a:avLst/>
          </a:prstGeom>
          <a:solidFill>
            <a:srgbClr val="E2FFC5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632790" y="1503196"/>
            <a:ext cx="2942619" cy="2513019"/>
          </a:xfrm>
          <a:prstGeom prst="rect">
            <a:avLst/>
          </a:prstGeom>
          <a:solidFill>
            <a:srgbClr val="E2FFC5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550588" y="4119599"/>
            <a:ext cx="2942619" cy="2513019"/>
          </a:xfrm>
          <a:prstGeom prst="rect">
            <a:avLst/>
          </a:prstGeom>
          <a:solidFill>
            <a:srgbClr val="E2FFC5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" name="Rectangle 7"/>
          <p:cNvSpPr/>
          <p:nvPr userDrawn="1"/>
        </p:nvSpPr>
        <p:spPr>
          <a:xfrm rot="425343">
            <a:off x="3775786" y="4199631"/>
            <a:ext cx="2858543" cy="244121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6981460" y="1482971"/>
            <a:ext cx="4714527" cy="1008627"/>
          </a:xfrm>
          <a:prstGeom prst="rect">
            <a:avLst/>
          </a:prstGeom>
          <a:noFill/>
          <a:ln>
            <a:noFill/>
          </a:ln>
        </p:spPr>
        <p:txBody>
          <a:bodyPr wrap="square" lIns="84469" tIns="42236" rIns="84469" bIns="42236" rtlCol="0">
            <a:spAutoFit/>
          </a:bodyPr>
          <a:lstStyle/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TEXT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10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5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00" indent="-179967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193155768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80695" y="1646879"/>
            <a:ext cx="3789566" cy="3590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195" tIns="44098" rIns="88195" bIns="44098" rtlCol="0" anchor="ctr"/>
          <a:lstStyle/>
          <a:p>
            <a:pPr algn="ctr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Description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017940" y="1632854"/>
            <a:ext cx="0" cy="5026039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8080331" y="1646885"/>
            <a:ext cx="0" cy="5026039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152451" y="3886918"/>
            <a:ext cx="3789562" cy="8338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88195" tIns="44098" rIns="88195" bIns="44098">
            <a:spAutoFit/>
          </a:bodyPr>
          <a:lstStyle/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100">
                <a:solidFill>
                  <a:srgbClr val="000000"/>
                </a:solidFill>
              </a:rPr>
              <a:t>Text</a:t>
            </a: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80697" y="3385236"/>
            <a:ext cx="11764448" cy="3590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195" tIns="44098" rIns="88195" bIns="44098" rtlCol="0" anchor="ctr"/>
          <a:lstStyle/>
          <a:p>
            <a:pPr algn="ctr" defTabSz="914271" fontAlgn="base">
              <a:spcBef>
                <a:spcPct val="0"/>
              </a:spcBef>
              <a:spcAft>
                <a:spcPct val="0"/>
              </a:spcAft>
              <a:buClr>
                <a:srgbClr val="3D7EDB"/>
              </a:buClr>
            </a:pPr>
            <a:r>
              <a:rPr lang="en-GB" sz="1500" b="1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164275" y="2073270"/>
            <a:ext cx="3789562" cy="8338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88195" tIns="44098" rIns="88195" bIns="44098">
            <a:spAutoFit/>
          </a:bodyPr>
          <a:lstStyle/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100">
                <a:solidFill>
                  <a:srgbClr val="000000"/>
                </a:solidFill>
              </a:rPr>
              <a:t>Text</a:t>
            </a: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4100077" y="1646879"/>
            <a:ext cx="3938430" cy="3590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195" tIns="44098" rIns="88195" bIns="44098" rtlCol="0" anchor="ctr"/>
          <a:lstStyle/>
          <a:p>
            <a:pPr algn="ctr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4071829" y="3886918"/>
            <a:ext cx="3938427" cy="8338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88195" tIns="44098" rIns="88195" bIns="44098">
            <a:spAutoFit/>
          </a:bodyPr>
          <a:lstStyle/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100">
                <a:solidFill>
                  <a:srgbClr val="000000"/>
                </a:solidFill>
              </a:rPr>
              <a:t>Text</a:t>
            </a: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4083654" y="2073270"/>
            <a:ext cx="3938427" cy="8338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88195" tIns="44098" rIns="88195" bIns="44098">
            <a:spAutoFit/>
          </a:bodyPr>
          <a:lstStyle/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100">
                <a:solidFill>
                  <a:srgbClr val="000000"/>
                </a:solidFill>
              </a:rPr>
              <a:t>Text</a:t>
            </a: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8183834" y="1646879"/>
            <a:ext cx="3789566" cy="3590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195" tIns="44098" rIns="88195" bIns="44098" rtlCol="0" anchor="ctr"/>
          <a:lstStyle/>
          <a:p>
            <a:pPr algn="ctr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8155602" y="3886918"/>
            <a:ext cx="3789562" cy="8338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88195" tIns="44098" rIns="88195" bIns="44098">
            <a:spAutoFit/>
          </a:bodyPr>
          <a:lstStyle/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100">
                <a:solidFill>
                  <a:srgbClr val="000000"/>
                </a:solidFill>
              </a:rPr>
              <a:t>Text</a:t>
            </a: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8167420" y="2073270"/>
            <a:ext cx="3789562" cy="8338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88195" tIns="44098" rIns="88195" bIns="44098">
            <a:spAutoFit/>
          </a:bodyPr>
          <a:lstStyle/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100">
                <a:solidFill>
                  <a:srgbClr val="000000"/>
                </a:solidFill>
              </a:rPr>
              <a:t>Text</a:t>
            </a: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24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5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00" indent="-179967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193570493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7" y="844555"/>
            <a:ext cx="11110383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37650" y="1513824"/>
            <a:ext cx="11131551" cy="369888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4339200" y="2088000"/>
            <a:ext cx="7315200" cy="2016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4339200" y="4377600"/>
            <a:ext cx="7315200" cy="2016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jdelijke aanduiding voor afbeelding 12"/>
          <p:cNvSpPr>
            <a:spLocks noGrp="1" noChangeAspect="1"/>
          </p:cNvSpPr>
          <p:nvPr>
            <p:ph type="pic" sz="quarter" idx="22"/>
          </p:nvPr>
        </p:nvSpPr>
        <p:spPr>
          <a:xfrm>
            <a:off x="539753" y="2088000"/>
            <a:ext cx="3513600" cy="2016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 noChangeAspect="1"/>
          </p:cNvSpPr>
          <p:nvPr>
            <p:ph type="pic" sz="quarter" idx="23"/>
          </p:nvPr>
        </p:nvSpPr>
        <p:spPr>
          <a:xfrm>
            <a:off x="537601" y="4377600"/>
            <a:ext cx="3513600" cy="2016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4"/>
          </p:nvPr>
        </p:nvSpPr>
        <p:spPr>
          <a:xfrm>
            <a:off x="11641138" y="167389"/>
            <a:ext cx="670982" cy="215900"/>
          </a:xfrm>
          <a:prstGeom prst="rect">
            <a:avLst/>
          </a:prstGeom>
          <a:ln/>
        </p:spPr>
        <p:txBody>
          <a:bodyPr lIns="91436" tIns="45718" rIns="91436" bIns="45718"/>
          <a:lstStyle>
            <a:lvl1pPr>
              <a:defRPr/>
            </a:lvl1pPr>
          </a:lstStyle>
          <a:p>
            <a:pPr>
              <a:defRPr/>
            </a:pPr>
            <a:fld id="{35A22AC8-36D9-4965-81AD-19038FCC0CC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ftr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345059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gray">
          <a:xfrm>
            <a:off x="393914" y="1285708"/>
            <a:ext cx="11334393" cy="4667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marL="316795" indent="-316795" defTabSz="914271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  <a:endParaRPr lang="en-IN" sz="1500" noProof="1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gray">
          <a:xfrm>
            <a:off x="393914" y="1921837"/>
            <a:ext cx="11334393" cy="46670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>
              <a:solidFill>
                <a:srgbClr val="000000"/>
              </a:solidFill>
            </a:endParaRPr>
          </a:p>
          <a:p>
            <a:pPr marL="316795" indent="-316795" defTabSz="914271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2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</a:p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 noProof="1">
              <a:solidFill>
                <a:srgbClr val="000000"/>
              </a:solidFill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gray">
          <a:xfrm>
            <a:off x="393914" y="2557966"/>
            <a:ext cx="11334393" cy="4667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>
              <a:solidFill>
                <a:srgbClr val="000000"/>
              </a:solidFill>
            </a:endParaRPr>
          </a:p>
          <a:p>
            <a:pPr marL="316795" indent="-316795" defTabSz="914271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3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</a:p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 noProof="1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gray">
          <a:xfrm>
            <a:off x="393914" y="3830224"/>
            <a:ext cx="11334393" cy="4667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>
              <a:solidFill>
                <a:srgbClr val="000000"/>
              </a:solidFill>
            </a:endParaRPr>
          </a:p>
          <a:p>
            <a:pPr marL="316795" indent="-316795" defTabSz="914271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5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</a:p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 noProof="1">
              <a:solidFill>
                <a:srgbClr val="000000"/>
              </a:solidFill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gray">
          <a:xfrm>
            <a:off x="393914" y="3194095"/>
            <a:ext cx="11334393" cy="46670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marL="316795" indent="-316795" defTabSz="914271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4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  <a:endParaRPr lang="en-US" sz="1500" noProof="1">
              <a:solidFill>
                <a:srgbClr val="000000"/>
              </a:solidFill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gray">
          <a:xfrm>
            <a:off x="393914" y="4466353"/>
            <a:ext cx="11334393" cy="46670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marL="316795" indent="-316795" defTabSz="914271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6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  <a:endParaRPr lang="en-US" sz="1500" noProof="1">
              <a:solidFill>
                <a:srgbClr val="000000"/>
              </a:solidFill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gray">
          <a:xfrm>
            <a:off x="393914" y="5102480"/>
            <a:ext cx="11334393" cy="4667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>
              <a:solidFill>
                <a:srgbClr val="000000"/>
              </a:solidFill>
            </a:endParaRPr>
          </a:p>
          <a:p>
            <a:pPr marL="316795" indent="-316795" defTabSz="914271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7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</a:p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0879657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12" name="Content Placeholder 22"/>
          <p:cNvSpPr>
            <a:spLocks noGrp="1"/>
          </p:cNvSpPr>
          <p:nvPr userDrawn="1"/>
        </p:nvSpPr>
        <p:spPr bwMode="auto">
          <a:xfrm>
            <a:off x="1911837" y="1434892"/>
            <a:ext cx="9644294" cy="1003266"/>
          </a:xfrm>
          <a:prstGeom prst="rect">
            <a:avLst/>
          </a:prstGeom>
          <a:solidFill>
            <a:srgbClr val="00B0F0">
              <a:lumMod val="20000"/>
              <a:lumOff val="80000"/>
            </a:srgbClr>
          </a:solidFill>
          <a:ln w="12700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337914" tIns="42239" rIns="42239" bIns="42239" numCol="1" anchor="ctr" anchorCtr="0" compatLnSpc="1">
            <a:prstTxWarp prst="textNoShape">
              <a:avLst/>
            </a:prstTxWarp>
          </a:bodyPr>
          <a:lstStyle>
            <a:lvl1pPr marL="228600" indent="-228600" algn="l" defTabSz="1019175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4080"/>
              </a:buClr>
              <a:buSzPct val="90000"/>
              <a:buFont typeface="Wingdings" pitchFamily="2" charset="2"/>
              <a:buChar char="n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90525" indent="-142875" algn="l" defTabSz="1019175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Arial" pitchFamily="34" charset="0"/>
              <a:buChar char="–"/>
              <a:defRPr sz="1100">
                <a:solidFill>
                  <a:srgbClr val="000000"/>
                </a:solidFill>
                <a:latin typeface="+mn-lt"/>
              </a:defRPr>
            </a:lvl2pPr>
            <a:lvl3pPr marL="504825" indent="-104775" algn="l" defTabSz="1019175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3pPr>
            <a:lvl4pPr marL="904875" indent="-212725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4pPr>
            <a:lvl5pPr marL="11477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5pPr>
            <a:lvl6pPr marL="16049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6pPr>
            <a:lvl7pPr marL="20621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7pPr>
            <a:lvl8pPr marL="25193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8pPr>
            <a:lvl9pPr marL="29765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211196" indent="-211196" defTabSz="941585">
              <a:spcBef>
                <a:spcPts val="554"/>
              </a:spcBef>
              <a:defRPr/>
            </a:pPr>
            <a:r>
              <a:rPr lang="en-US" sz="1300" kern="0"/>
              <a:t>Sample 1</a:t>
            </a:r>
          </a:p>
          <a:p>
            <a:pPr marL="360794" lvl="1" indent="-131998" defTabSz="941585">
              <a:spcBef>
                <a:spcPts val="370"/>
              </a:spcBef>
              <a:defRPr/>
            </a:pPr>
            <a:r>
              <a:rPr lang="en-US" sz="1300" kern="0"/>
              <a:t>Sample 2</a:t>
            </a:r>
          </a:p>
          <a:p>
            <a:pPr marL="466392" lvl="2" indent="-96798" defTabSz="941585">
              <a:spcBef>
                <a:spcPts val="185"/>
              </a:spcBef>
              <a:defRPr/>
            </a:pPr>
            <a:r>
              <a:rPr lang="en-US" sz="1300" kern="0"/>
              <a:t>Sample 3</a:t>
            </a:r>
          </a:p>
        </p:txBody>
      </p:sp>
      <p:sp>
        <p:nvSpPr>
          <p:cNvPr id="14" name="Oval 13"/>
          <p:cNvSpPr/>
          <p:nvPr userDrawn="1"/>
        </p:nvSpPr>
        <p:spPr>
          <a:xfrm>
            <a:off x="949111" y="1372656"/>
            <a:ext cx="1326457" cy="1135163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84479" tIns="42239" rIns="84479" bIns="42239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786">
              <a:defRPr/>
            </a:pPr>
            <a:r>
              <a:rPr lang="en-US" sz="1300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7" name="Content Placeholder 22"/>
          <p:cNvSpPr>
            <a:spLocks noGrp="1"/>
          </p:cNvSpPr>
          <p:nvPr userDrawn="1"/>
        </p:nvSpPr>
        <p:spPr bwMode="auto">
          <a:xfrm>
            <a:off x="2419636" y="2918487"/>
            <a:ext cx="9085653" cy="1003266"/>
          </a:xfrm>
          <a:prstGeom prst="rect">
            <a:avLst/>
          </a:prstGeom>
          <a:solidFill>
            <a:srgbClr val="00B0F0">
              <a:lumMod val="20000"/>
              <a:lumOff val="80000"/>
            </a:srgbClr>
          </a:solidFill>
          <a:ln w="12700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337914" tIns="42239" rIns="42239" bIns="42239" numCol="1" anchor="ctr" anchorCtr="0" compatLnSpc="1">
            <a:prstTxWarp prst="textNoShape">
              <a:avLst/>
            </a:prstTxWarp>
          </a:bodyPr>
          <a:lstStyle>
            <a:lvl1pPr marL="228600" indent="-228600" algn="l" defTabSz="1019175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4080"/>
              </a:buClr>
              <a:buSzPct val="90000"/>
              <a:buFont typeface="Wingdings" pitchFamily="2" charset="2"/>
              <a:buChar char="n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90525" indent="-142875" algn="l" defTabSz="1019175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Arial" pitchFamily="34" charset="0"/>
              <a:buChar char="–"/>
              <a:defRPr sz="1100">
                <a:solidFill>
                  <a:srgbClr val="000000"/>
                </a:solidFill>
                <a:latin typeface="+mn-lt"/>
              </a:defRPr>
            </a:lvl2pPr>
            <a:lvl3pPr marL="504825" indent="-104775" algn="l" defTabSz="1019175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3pPr>
            <a:lvl4pPr marL="904875" indent="-212725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4pPr>
            <a:lvl5pPr marL="11477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5pPr>
            <a:lvl6pPr marL="16049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6pPr>
            <a:lvl7pPr marL="20621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7pPr>
            <a:lvl8pPr marL="25193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8pPr>
            <a:lvl9pPr marL="29765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211196" indent="-211196" defTabSz="941585">
              <a:spcBef>
                <a:spcPts val="554"/>
              </a:spcBef>
              <a:defRPr/>
            </a:pPr>
            <a:r>
              <a:rPr lang="en-US" sz="1300" kern="0"/>
              <a:t>Sample 1</a:t>
            </a:r>
          </a:p>
          <a:p>
            <a:pPr marL="360794" lvl="1" indent="-131998" defTabSz="941585">
              <a:spcBef>
                <a:spcPts val="370"/>
              </a:spcBef>
              <a:defRPr/>
            </a:pPr>
            <a:r>
              <a:rPr lang="en-US" sz="1300" kern="0"/>
              <a:t>Sample 2</a:t>
            </a:r>
          </a:p>
          <a:p>
            <a:pPr marL="466392" lvl="2" indent="-96798" defTabSz="941585">
              <a:spcBef>
                <a:spcPts val="185"/>
              </a:spcBef>
              <a:defRPr/>
            </a:pPr>
            <a:r>
              <a:rPr lang="en-US" sz="1300" kern="0"/>
              <a:t>Sample 3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1456912" y="2856272"/>
            <a:ext cx="1326457" cy="1135163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84479" tIns="42239" rIns="84479" bIns="42239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786">
              <a:defRPr/>
            </a:pPr>
            <a:r>
              <a:rPr lang="en-US" sz="1300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9" name="Content Placeholder 22"/>
          <p:cNvSpPr>
            <a:spLocks noGrp="1"/>
          </p:cNvSpPr>
          <p:nvPr userDrawn="1"/>
        </p:nvSpPr>
        <p:spPr bwMode="auto">
          <a:xfrm>
            <a:off x="2004394" y="4474454"/>
            <a:ext cx="9517841" cy="1003266"/>
          </a:xfrm>
          <a:prstGeom prst="rect">
            <a:avLst/>
          </a:prstGeom>
          <a:solidFill>
            <a:srgbClr val="00B0F0">
              <a:lumMod val="20000"/>
              <a:lumOff val="80000"/>
            </a:srgbClr>
          </a:solidFill>
          <a:ln w="12700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337914" tIns="42239" rIns="42239" bIns="42239" numCol="1" anchor="ctr" anchorCtr="0" compatLnSpc="1">
            <a:prstTxWarp prst="textNoShape">
              <a:avLst/>
            </a:prstTxWarp>
          </a:bodyPr>
          <a:lstStyle>
            <a:lvl1pPr marL="228600" indent="-228600" algn="l" defTabSz="1019175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4080"/>
              </a:buClr>
              <a:buSzPct val="90000"/>
              <a:buFont typeface="Wingdings" pitchFamily="2" charset="2"/>
              <a:buChar char="n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90525" indent="-142875" algn="l" defTabSz="1019175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Arial" pitchFamily="34" charset="0"/>
              <a:buChar char="–"/>
              <a:defRPr sz="1100">
                <a:solidFill>
                  <a:srgbClr val="000000"/>
                </a:solidFill>
                <a:latin typeface="+mn-lt"/>
              </a:defRPr>
            </a:lvl2pPr>
            <a:lvl3pPr marL="504825" indent="-104775" algn="l" defTabSz="1019175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3pPr>
            <a:lvl4pPr marL="904875" indent="-212725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4pPr>
            <a:lvl5pPr marL="11477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5pPr>
            <a:lvl6pPr marL="16049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6pPr>
            <a:lvl7pPr marL="20621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7pPr>
            <a:lvl8pPr marL="25193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8pPr>
            <a:lvl9pPr marL="29765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211196" indent="-211196" defTabSz="941585">
              <a:spcBef>
                <a:spcPts val="554"/>
              </a:spcBef>
              <a:defRPr/>
            </a:pPr>
            <a:r>
              <a:rPr lang="en-US" sz="1300" kern="0"/>
              <a:t>Sample 1</a:t>
            </a:r>
          </a:p>
          <a:p>
            <a:pPr marL="360794" lvl="1" indent="-131998" defTabSz="941585">
              <a:spcBef>
                <a:spcPts val="370"/>
              </a:spcBef>
              <a:defRPr/>
            </a:pPr>
            <a:r>
              <a:rPr lang="en-US" sz="1300" kern="0"/>
              <a:t>Sample 2</a:t>
            </a:r>
          </a:p>
          <a:p>
            <a:pPr marL="466392" lvl="2" indent="-96798" defTabSz="941585">
              <a:spcBef>
                <a:spcPts val="185"/>
              </a:spcBef>
              <a:defRPr/>
            </a:pPr>
            <a:r>
              <a:rPr lang="en-US" sz="1300" kern="0"/>
              <a:t>Sample 3</a:t>
            </a:r>
          </a:p>
        </p:txBody>
      </p:sp>
      <p:sp>
        <p:nvSpPr>
          <p:cNvPr id="20" name="Oval 19"/>
          <p:cNvSpPr/>
          <p:nvPr userDrawn="1"/>
        </p:nvSpPr>
        <p:spPr>
          <a:xfrm>
            <a:off x="1041674" y="4412239"/>
            <a:ext cx="1326457" cy="1135163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84479" tIns="42239" rIns="84479" bIns="42239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786">
              <a:defRPr/>
            </a:pPr>
            <a:r>
              <a:rPr lang="en-US" sz="1300" b="1">
                <a:solidFill>
                  <a:srgbClr val="FFFFFF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219503473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37935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PP header horizon met logo's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4228" y="407988"/>
            <a:ext cx="12196234" cy="1566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4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56" y="2374900"/>
            <a:ext cx="11110383" cy="1144588"/>
          </a:xfrm>
        </p:spPr>
        <p:txBody>
          <a:bodyPr bIns="45712"/>
          <a:lstStyle>
            <a:lvl1pPr>
              <a:defRPr sz="3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4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756" y="6191279"/>
            <a:ext cx="11110383" cy="417513"/>
          </a:xfrm>
        </p:spPr>
        <p:txBody>
          <a:bodyPr tIns="45712" rIns="91422" bIns="45712"/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984689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27634" y="521892"/>
            <a:ext cx="11632606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4"/>
          </p:nvPr>
        </p:nvSpPr>
        <p:spPr>
          <a:xfrm>
            <a:off x="264215" y="167389"/>
            <a:ext cx="4798484" cy="2159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5"/>
          </p:nvPr>
        </p:nvSpPr>
        <p:spPr>
          <a:xfrm>
            <a:off x="279263" y="1094247"/>
            <a:ext cx="11613834" cy="5204657"/>
          </a:xfrm>
        </p:spPr>
        <p:txBody>
          <a:bodyPr/>
          <a:lstStyle>
            <a:lvl1pPr>
              <a:defRPr sz="1500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00" indent="-179967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418313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gray">
          <a:xfrm>
            <a:off x="1761811" y="1832375"/>
            <a:ext cx="9411002" cy="53018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IN" sz="1500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563422" y="1837910"/>
            <a:ext cx="1120543" cy="53018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45" tIns="67145" rIns="67145" bIns="67145" anchor="ctr"/>
          <a:lstStyle/>
          <a:p>
            <a:pPr algn="ctr"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gray">
          <a:xfrm>
            <a:off x="1764504" y="2475374"/>
            <a:ext cx="9411002" cy="49489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gray">
          <a:xfrm>
            <a:off x="1772042" y="3081674"/>
            <a:ext cx="9411002" cy="550933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9" name="Rectangle 15"/>
          <p:cNvSpPr>
            <a:spLocks noChangeArrowheads="1"/>
          </p:cNvSpPr>
          <p:nvPr userDrawn="1"/>
        </p:nvSpPr>
        <p:spPr bwMode="gray">
          <a:xfrm>
            <a:off x="563416" y="2475374"/>
            <a:ext cx="1093089" cy="49489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45" tIns="67145" rIns="67145" bIns="67145" anchor="ctr"/>
          <a:lstStyle/>
          <a:p>
            <a:pPr algn="ctr"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563416" y="3081648"/>
            <a:ext cx="1093089" cy="53018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45" tIns="67145" rIns="67145" bIns="67145" anchor="ctr"/>
          <a:lstStyle/>
          <a:p>
            <a:pPr algn="ctr"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gray">
          <a:xfrm>
            <a:off x="1772042" y="1210233"/>
            <a:ext cx="9411002" cy="53018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IN" sz="1500" b="1" noProof="1">
                <a:solidFill>
                  <a:srgbClr val="5A245A">
                    <a:lumMod val="90000"/>
                    <a:lumOff val="10000"/>
                  </a:srgbClr>
                </a:solidFill>
              </a:rPr>
              <a:t>Text</a:t>
            </a: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563417" y="1210061"/>
            <a:ext cx="1120543" cy="53018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45" tIns="67145" rIns="67145" bIns="67145" anchor="ctr"/>
          <a:lstStyle/>
          <a:p>
            <a:pPr algn="ctr"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gray">
          <a:xfrm>
            <a:off x="1772034" y="4321243"/>
            <a:ext cx="9411002" cy="550933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gray">
          <a:xfrm>
            <a:off x="563416" y="4321213"/>
            <a:ext cx="1093089" cy="53018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45" tIns="67145" rIns="67145" bIns="67145" anchor="ctr"/>
          <a:lstStyle/>
          <a:p>
            <a:pPr algn="ctr"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gray">
          <a:xfrm>
            <a:off x="1772042" y="3725717"/>
            <a:ext cx="9411002" cy="49489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6" name="Rectangle 15"/>
          <p:cNvSpPr>
            <a:spLocks noChangeArrowheads="1"/>
          </p:cNvSpPr>
          <p:nvPr userDrawn="1"/>
        </p:nvSpPr>
        <p:spPr bwMode="gray">
          <a:xfrm>
            <a:off x="570944" y="3725717"/>
            <a:ext cx="1093089" cy="49489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45" tIns="67145" rIns="67145" bIns="67145" anchor="ctr"/>
          <a:lstStyle/>
          <a:p>
            <a:pPr algn="ctr"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062209954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gray">
          <a:xfrm>
            <a:off x="1744876" y="2417847"/>
            <a:ext cx="9411002" cy="53018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10" tIns="67090" rIns="67090" bIns="67090" anchor="ctr"/>
          <a:lstStyle/>
          <a:p>
            <a:pPr defTabSz="918938" eaLnBrk="0" hangingPunct="0">
              <a:spcBef>
                <a:spcPct val="25000"/>
              </a:spcBef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546479" y="1767272"/>
            <a:ext cx="1120543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0" tIns="67090" rIns="67090" bIns="67090" anchor="ctr"/>
          <a:lstStyle/>
          <a:p>
            <a:pPr algn="ctr" defTabSz="918938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gray">
          <a:xfrm>
            <a:off x="1747539" y="3056053"/>
            <a:ext cx="9411002" cy="49489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10" tIns="67090" rIns="67090" bIns="67090" anchor="ctr"/>
          <a:lstStyle/>
          <a:p>
            <a:pPr defTabSz="918938" eaLnBrk="0" hangingPunct="0">
              <a:spcBef>
                <a:spcPct val="25000"/>
              </a:spcBef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8" name="Rectangle 15"/>
          <p:cNvSpPr>
            <a:spLocks noChangeArrowheads="1"/>
          </p:cNvSpPr>
          <p:nvPr userDrawn="1"/>
        </p:nvSpPr>
        <p:spPr bwMode="gray">
          <a:xfrm>
            <a:off x="546464" y="2404732"/>
            <a:ext cx="1093089" cy="494891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0" tIns="67090" rIns="67090" bIns="67090" anchor="ctr"/>
          <a:lstStyle/>
          <a:p>
            <a:pPr algn="ctr" defTabSz="918938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gray">
          <a:xfrm>
            <a:off x="1755093" y="1139588"/>
            <a:ext cx="9411002" cy="53018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10" tIns="67090" rIns="67090" bIns="67090" anchor="ctr"/>
          <a:lstStyle/>
          <a:p>
            <a:pPr defTabSz="918938" eaLnBrk="0" hangingPunct="0">
              <a:spcBef>
                <a:spcPct val="25000"/>
              </a:spcBef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546476" y="1139423"/>
            <a:ext cx="1120543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0" tIns="67090" rIns="67090" bIns="67090" anchor="ctr"/>
          <a:lstStyle/>
          <a:p>
            <a:pPr algn="ctr" defTabSz="918938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gray">
          <a:xfrm>
            <a:off x="1755085" y="3676984"/>
            <a:ext cx="9411002" cy="55093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10" tIns="67090" rIns="67090" bIns="67090" anchor="ctr"/>
          <a:lstStyle/>
          <a:p>
            <a:pPr defTabSz="918938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gray">
          <a:xfrm>
            <a:off x="546464" y="3025654"/>
            <a:ext cx="1093089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0" tIns="67090" rIns="67090" bIns="67090" anchor="ctr"/>
          <a:lstStyle/>
          <a:p>
            <a:pPr algn="ctr" defTabSz="918938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gray">
          <a:xfrm>
            <a:off x="1747539" y="4378600"/>
            <a:ext cx="9411002" cy="55093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10" tIns="67090" rIns="67090" bIns="67090" anchor="ctr"/>
          <a:lstStyle/>
          <a:p>
            <a:pPr defTabSz="918938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gray">
          <a:xfrm>
            <a:off x="538937" y="3727245"/>
            <a:ext cx="1093089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0" tIns="67090" rIns="67090" bIns="67090" anchor="ctr"/>
          <a:lstStyle/>
          <a:p>
            <a:pPr algn="ctr" defTabSz="918938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gray">
          <a:xfrm>
            <a:off x="1761811" y="1781747"/>
            <a:ext cx="9411002" cy="55093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10" tIns="67090" rIns="67090" bIns="67090" anchor="ctr"/>
          <a:lstStyle/>
          <a:p>
            <a:pPr defTabSz="918938" eaLnBrk="0" hangingPunct="0">
              <a:spcBef>
                <a:spcPct val="25000"/>
              </a:spcBef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6" name="Rectangle 15"/>
          <p:cNvSpPr>
            <a:spLocks noChangeArrowheads="1"/>
          </p:cNvSpPr>
          <p:nvPr userDrawn="1"/>
        </p:nvSpPr>
        <p:spPr bwMode="gray">
          <a:xfrm>
            <a:off x="534969" y="4429942"/>
            <a:ext cx="1093089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0" tIns="67090" rIns="67090" bIns="67090" anchor="ctr"/>
          <a:lstStyle/>
          <a:p>
            <a:pPr algn="ctr" defTabSz="918938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17" name="Rectangle 4"/>
          <p:cNvSpPr>
            <a:spLocks noChangeArrowheads="1"/>
          </p:cNvSpPr>
          <p:nvPr userDrawn="1"/>
        </p:nvSpPr>
        <p:spPr bwMode="gray">
          <a:xfrm>
            <a:off x="1759507" y="5125740"/>
            <a:ext cx="9411002" cy="55093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10" tIns="67090" rIns="67090" bIns="67090" anchor="ctr"/>
          <a:lstStyle/>
          <a:p>
            <a:pPr defTabSz="918938" eaLnBrk="0" hangingPunct="0">
              <a:spcBef>
                <a:spcPct val="25000"/>
              </a:spcBef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gray">
          <a:xfrm>
            <a:off x="550896" y="5139320"/>
            <a:ext cx="1093089" cy="53018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0" tIns="67090" rIns="67090" bIns="67090" anchor="ctr"/>
          <a:lstStyle/>
          <a:p>
            <a:pPr algn="ctr" defTabSz="918938" eaLnBrk="0" hangingPunct="0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849952652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27634" y="521892"/>
            <a:ext cx="11632606" cy="360363"/>
          </a:xfrm>
        </p:spPr>
        <p:txBody>
          <a:bodyPr/>
          <a:lstStyle>
            <a:lvl1pPr>
              <a:defRPr sz="2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4"/>
          </p:nvPr>
        </p:nvSpPr>
        <p:spPr>
          <a:xfrm>
            <a:off x="247787" y="167389"/>
            <a:ext cx="4798484" cy="2159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8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746683" y="205660"/>
            <a:ext cx="326444" cy="219391"/>
          </a:xfrm>
          <a:prstGeom prst="rect">
            <a:avLst/>
          </a:prstGeom>
        </p:spPr>
        <p:txBody>
          <a:bodyPr vert="horz" lIns="0" tIns="44098" rIns="69446" bIns="44098" rtlCol="0" anchor="ctr"/>
          <a:lstStyle>
            <a:lvl1pPr algn="l">
              <a:defRPr sz="1000" b="1">
                <a:solidFill>
                  <a:schemeClr val="bg1"/>
                </a:solidFill>
                <a:latin typeface="+mn-lt"/>
              </a:defRPr>
            </a:lvl1pPr>
          </a:lstStyle>
          <a:p>
            <a:fld id="{7103653F-4628-4CCA-BBFC-10994C39EA7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94118" y="1420571"/>
            <a:ext cx="10401366" cy="5121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0" name="Oval 25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605216" y="1435743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994118" y="2286140"/>
            <a:ext cx="10401366" cy="5555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2" name="Oval 26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06432" y="235098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994118" y="3195072"/>
            <a:ext cx="10401366" cy="5710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4" name="Oval 26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596992" y="3251151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994118" y="4119515"/>
            <a:ext cx="10401366" cy="5439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6" name="Oval 26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614928" y="415521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94118" y="5016841"/>
            <a:ext cx="10401366" cy="4936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159864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8" name="Oval 263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626208" y="504654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75190043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123" y="493825"/>
            <a:ext cx="11843810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25529" y="1008767"/>
            <a:ext cx="11667569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3234991" y="1596984"/>
            <a:ext cx="8529600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3234991" y="4884939"/>
            <a:ext cx="8529600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3234991" y="3240961"/>
            <a:ext cx="8529600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jdelijke aanduiding voor afbeelding 12"/>
          <p:cNvSpPr>
            <a:spLocks noGrp="1"/>
          </p:cNvSpPr>
          <p:nvPr>
            <p:ph type="pic" sz="quarter" idx="22"/>
          </p:nvPr>
        </p:nvSpPr>
        <p:spPr>
          <a:xfrm>
            <a:off x="312118" y="1596984"/>
            <a:ext cx="2685029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/>
          </p:cNvSpPr>
          <p:nvPr>
            <p:ph type="pic" sz="quarter" idx="23"/>
          </p:nvPr>
        </p:nvSpPr>
        <p:spPr>
          <a:xfrm>
            <a:off x="295688" y="3240961"/>
            <a:ext cx="2699305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5" name="Tijdelijke aanduiding voor afbeelding 12"/>
          <p:cNvSpPr>
            <a:spLocks noGrp="1"/>
          </p:cNvSpPr>
          <p:nvPr>
            <p:ph type="pic" sz="quarter" idx="24"/>
          </p:nvPr>
        </p:nvSpPr>
        <p:spPr>
          <a:xfrm>
            <a:off x="328544" y="4884939"/>
            <a:ext cx="2666450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5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C7F818-1137-44F4-B6D6-BECAD6B9515E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ftr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6758759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6" y="844553"/>
            <a:ext cx="11110383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37648" y="1513825"/>
            <a:ext cx="11131551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4339200" y="2088000"/>
            <a:ext cx="7315200" cy="2016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4339200" y="4377600"/>
            <a:ext cx="7315200" cy="2016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jdelijke aanduiding voor afbeelding 12"/>
          <p:cNvSpPr>
            <a:spLocks noGrp="1" noChangeAspect="1"/>
          </p:cNvSpPr>
          <p:nvPr>
            <p:ph type="pic" sz="quarter" idx="22"/>
          </p:nvPr>
        </p:nvSpPr>
        <p:spPr>
          <a:xfrm>
            <a:off x="539753" y="2088000"/>
            <a:ext cx="3513600" cy="2016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 noChangeAspect="1"/>
          </p:cNvSpPr>
          <p:nvPr>
            <p:ph type="pic" sz="quarter" idx="23"/>
          </p:nvPr>
        </p:nvSpPr>
        <p:spPr>
          <a:xfrm>
            <a:off x="537601" y="4377600"/>
            <a:ext cx="3513600" cy="2016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4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A22AC8-36D9-4965-81AD-19038FCC0CC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ftr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957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9771" y="521888"/>
            <a:ext cx="11698313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443530" y="1919653"/>
            <a:ext cx="560158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59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6387781" y="1919653"/>
            <a:ext cx="5538105" cy="360000"/>
          </a:xfrm>
          <a:solidFill>
            <a:schemeClr val="accent5">
              <a:lumMod val="60000"/>
              <a:lumOff val="40000"/>
            </a:schemeClr>
          </a:solidFill>
        </p:spPr>
        <p:txBody>
          <a:bodyPr lIns="179959" anchor="ctr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74806" y="1050877"/>
            <a:ext cx="11716850" cy="369888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443530" y="2261652"/>
            <a:ext cx="560158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6387846" y="2261652"/>
            <a:ext cx="5538105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1"/>
          </p:nvPr>
        </p:nvSpPr>
        <p:spPr>
          <a:xfrm>
            <a:off x="11641138" y="167389"/>
            <a:ext cx="670982" cy="215900"/>
          </a:xfrm>
          <a:prstGeom prst="rect">
            <a:avLst/>
          </a:prstGeom>
          <a:ln/>
        </p:spPr>
        <p:txBody>
          <a:bodyPr lIns="91436" tIns="45718" rIns="91436" bIns="45718"/>
          <a:lstStyle>
            <a:lvl1pPr>
              <a:defRPr/>
            </a:lvl1pPr>
          </a:lstStyle>
          <a:p>
            <a:pPr>
              <a:defRPr/>
            </a:pPr>
            <a:fld id="{DEEDDE4F-381E-4904-8E4A-86B45F5FCC9F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ftr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4364768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9770" y="521887"/>
            <a:ext cx="11698313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443530" y="1919652"/>
            <a:ext cx="560158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6387780" y="1919652"/>
            <a:ext cx="5538105" cy="360000"/>
          </a:xfrm>
          <a:solidFill>
            <a:schemeClr val="accent5">
              <a:lumMod val="60000"/>
              <a:lumOff val="40000"/>
            </a:schemeClr>
          </a:solidFill>
        </p:spPr>
        <p:txBody>
          <a:bodyPr lIns="179967" anchor="ctr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74805" y="1050878"/>
            <a:ext cx="11716850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443530" y="2261652"/>
            <a:ext cx="560158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6387845" y="2261652"/>
            <a:ext cx="5538105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1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EDDE4F-381E-4904-8E4A-86B45F5FCC9F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ftr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0396158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6" y="844553"/>
            <a:ext cx="11110383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537601" y="2088000"/>
            <a:ext cx="35136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4344000" y="2088000"/>
            <a:ext cx="3513600" cy="360000"/>
          </a:xfrm>
          <a:solidFill>
            <a:schemeClr val="bg1">
              <a:lumMod val="85000"/>
            </a:schemeClr>
          </a:solidFill>
        </p:spPr>
        <p:txBody>
          <a:bodyPr lIns="179967" anchor="ctr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37648" y="1513825"/>
            <a:ext cx="11131551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15"/>
          <p:cNvSpPr>
            <a:spLocks noGrp="1"/>
          </p:cNvSpPr>
          <p:nvPr>
            <p:ph type="body" sz="quarter" idx="18"/>
          </p:nvPr>
        </p:nvSpPr>
        <p:spPr>
          <a:xfrm>
            <a:off x="8136001" y="2088000"/>
            <a:ext cx="35136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537601" y="2430000"/>
            <a:ext cx="351360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4344000" y="2430000"/>
            <a:ext cx="351360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8136001" y="2430000"/>
            <a:ext cx="351360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2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7271F2-7CBD-49FF-AC82-FB447FEFDDB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ftr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2686812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6" y="844553"/>
            <a:ext cx="11110383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537602" y="2088000"/>
            <a:ext cx="11112533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37648" y="1513825"/>
            <a:ext cx="11131551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jdelijke aanduiding voor tekst 10"/>
          <p:cNvSpPr>
            <a:spLocks noGrp="1"/>
          </p:cNvSpPr>
          <p:nvPr>
            <p:ph type="body" sz="quarter" idx="18"/>
          </p:nvPr>
        </p:nvSpPr>
        <p:spPr>
          <a:xfrm>
            <a:off x="537607" y="2448000"/>
            <a:ext cx="11112500" cy="957600"/>
          </a:xfrm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ijdelijke aanduiding voor tekst 10"/>
          <p:cNvSpPr>
            <a:spLocks noGrp="1"/>
          </p:cNvSpPr>
          <p:nvPr>
            <p:ph type="body" sz="quarter" idx="19"/>
          </p:nvPr>
        </p:nvSpPr>
        <p:spPr>
          <a:xfrm>
            <a:off x="537639" y="3913200"/>
            <a:ext cx="11112500" cy="957600"/>
          </a:xfrm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ijdelijke aanduiding voor tekst 10"/>
          <p:cNvSpPr>
            <a:spLocks noGrp="1"/>
          </p:cNvSpPr>
          <p:nvPr>
            <p:ph type="body" sz="quarter" idx="20"/>
          </p:nvPr>
        </p:nvSpPr>
        <p:spPr>
          <a:xfrm>
            <a:off x="537639" y="5382000"/>
            <a:ext cx="11112500" cy="957600"/>
          </a:xfrm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ijdelijke aanduiding voor tekst 15"/>
          <p:cNvSpPr>
            <a:spLocks noGrp="1"/>
          </p:cNvSpPr>
          <p:nvPr>
            <p:ph type="body" sz="quarter" idx="21"/>
          </p:nvPr>
        </p:nvSpPr>
        <p:spPr>
          <a:xfrm>
            <a:off x="537602" y="3553200"/>
            <a:ext cx="11112533" cy="360000"/>
          </a:xfrm>
          <a:solidFill>
            <a:schemeClr val="bg1">
              <a:lumMod val="85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ijdelijke aanduiding voor tekst 15"/>
          <p:cNvSpPr>
            <a:spLocks noGrp="1"/>
          </p:cNvSpPr>
          <p:nvPr>
            <p:ph type="body" sz="quarter" idx="22"/>
          </p:nvPr>
        </p:nvSpPr>
        <p:spPr>
          <a:xfrm>
            <a:off x="537635" y="5022000"/>
            <a:ext cx="11112533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3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F3E2E6-0002-40E1-98BA-05E901993722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ftr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3577002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472708" y="1562377"/>
            <a:ext cx="2007593" cy="4761569"/>
            <a:chOff x="404813" y="1566716"/>
            <a:chExt cx="1719262" cy="4774796"/>
          </a:xfrm>
        </p:grpSpPr>
        <p:sp>
          <p:nvSpPr>
            <p:cNvPr id="6" name="Rectangle 5"/>
            <p:cNvSpPr>
              <a:spLocks noChangeArrowheads="1"/>
            </p:cNvSpPr>
            <p:nvPr/>
          </p:nvSpPr>
          <p:spPr bwMode="gray">
            <a:xfrm>
              <a:off x="404813" y="1566716"/>
              <a:ext cx="1719262" cy="968375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00" b="1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7" name="Rectangle 6"/>
            <p:cNvSpPr>
              <a:spLocks noChangeArrowheads="1"/>
            </p:cNvSpPr>
            <p:nvPr/>
          </p:nvSpPr>
          <p:spPr bwMode="gray">
            <a:xfrm>
              <a:off x="404813" y="2836581"/>
              <a:ext cx="1719262" cy="966788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74065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500" b="1">
                  <a:solidFill>
                    <a:srgbClr val="000000"/>
                  </a:solidFill>
                  <a:ea typeface="ＭＳ Ｐゴシック" pitchFamily="34" charset="-128"/>
                </a:rPr>
                <a:t>Text</a:t>
              </a:r>
            </a:p>
          </p:txBody>
        </p:sp>
        <p:sp>
          <p:nvSpPr>
            <p:cNvPr id="8" name="Rectangle 7"/>
            <p:cNvSpPr>
              <a:spLocks noChangeArrowheads="1"/>
            </p:cNvSpPr>
            <p:nvPr/>
          </p:nvSpPr>
          <p:spPr bwMode="gray">
            <a:xfrm>
              <a:off x="404813" y="4104859"/>
              <a:ext cx="1719262" cy="966787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00" b="1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gray">
            <a:xfrm>
              <a:off x="404813" y="5373137"/>
              <a:ext cx="1719262" cy="96837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914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00" b="1">
                  <a:solidFill>
                    <a:srgbClr val="000000"/>
                  </a:solidFill>
                </a:rPr>
                <a:t>Text</a:t>
              </a:r>
            </a:p>
          </p:txBody>
        </p:sp>
      </p:grpSp>
      <p:sp>
        <p:nvSpPr>
          <p:cNvPr id="10" name="AutoShape 9"/>
          <p:cNvSpPr>
            <a:spLocks noChangeArrowheads="1"/>
          </p:cNvSpPr>
          <p:nvPr userDrawn="1"/>
        </p:nvSpPr>
        <p:spPr bwMode="gray">
          <a:xfrm rot="5400000" flipV="1">
            <a:off x="1340148" y="2447263"/>
            <a:ext cx="310288" cy="420798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99333" tIns="0" rIns="0" bIns="0" anchor="ctr"/>
          <a:lstStyle/>
          <a:p>
            <a:pPr algn="ctr" defTabSz="91427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800" noProof="1">
              <a:solidFill>
                <a:srgbClr val="000000"/>
              </a:solidFill>
            </a:endParaRPr>
          </a:p>
        </p:txBody>
      </p:sp>
      <p:sp>
        <p:nvSpPr>
          <p:cNvPr id="11" name="AutoShape 9"/>
          <p:cNvSpPr>
            <a:spLocks noChangeArrowheads="1"/>
          </p:cNvSpPr>
          <p:nvPr userDrawn="1"/>
        </p:nvSpPr>
        <p:spPr bwMode="gray">
          <a:xfrm rot="5400000" flipV="1">
            <a:off x="1340148" y="3752895"/>
            <a:ext cx="310288" cy="420798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99333" tIns="0" rIns="0" bIns="0" anchor="ctr"/>
          <a:lstStyle/>
          <a:p>
            <a:pPr algn="ctr" defTabSz="91427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800" noProof="1">
              <a:solidFill>
                <a:srgbClr val="000000"/>
              </a:solidFill>
            </a:endParaRPr>
          </a:p>
        </p:txBody>
      </p:sp>
      <p:sp>
        <p:nvSpPr>
          <p:cNvPr id="12" name="AutoShape 9"/>
          <p:cNvSpPr>
            <a:spLocks noChangeArrowheads="1"/>
          </p:cNvSpPr>
          <p:nvPr userDrawn="1"/>
        </p:nvSpPr>
        <p:spPr bwMode="gray">
          <a:xfrm rot="5400000" flipV="1">
            <a:off x="1340148" y="5004241"/>
            <a:ext cx="310288" cy="420798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99333" tIns="0" rIns="0" bIns="0" anchor="ctr"/>
          <a:lstStyle/>
          <a:p>
            <a:pPr algn="ctr" defTabSz="91427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800" noProof="1">
              <a:solidFill>
                <a:srgbClr val="000000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526762" y="1522944"/>
            <a:ext cx="9087087" cy="1008627"/>
          </a:xfrm>
          <a:prstGeom prst="rect">
            <a:avLst/>
          </a:prstGeom>
          <a:noFill/>
          <a:ln>
            <a:noFill/>
          </a:ln>
        </p:spPr>
        <p:txBody>
          <a:bodyPr wrap="square" lIns="84469" tIns="42236" rIns="84469" bIns="42236" rtlCol="0">
            <a:spAutoFit/>
          </a:bodyPr>
          <a:lstStyle/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2526762" y="2773690"/>
            <a:ext cx="9087087" cy="1008627"/>
          </a:xfrm>
          <a:prstGeom prst="rect">
            <a:avLst/>
          </a:prstGeom>
          <a:noFill/>
          <a:ln>
            <a:noFill/>
          </a:ln>
        </p:spPr>
        <p:txBody>
          <a:bodyPr wrap="square" lIns="84469" tIns="42236" rIns="84469" bIns="42236" rtlCol="0">
            <a:spAutoFit/>
          </a:bodyPr>
          <a:lstStyle/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526762" y="5277886"/>
            <a:ext cx="9087087" cy="1008627"/>
          </a:xfrm>
          <a:prstGeom prst="rect">
            <a:avLst/>
          </a:prstGeom>
          <a:noFill/>
          <a:ln>
            <a:noFill/>
          </a:ln>
        </p:spPr>
        <p:txBody>
          <a:bodyPr wrap="square" lIns="84469" tIns="42236" rIns="84469" bIns="42236" rtlCol="0">
            <a:spAutoFit/>
          </a:bodyPr>
          <a:lstStyle/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2526762" y="4023351"/>
            <a:ext cx="9087087" cy="1008627"/>
          </a:xfrm>
          <a:prstGeom prst="rect">
            <a:avLst/>
          </a:prstGeom>
          <a:noFill/>
          <a:ln>
            <a:noFill/>
          </a:ln>
        </p:spPr>
        <p:txBody>
          <a:bodyPr wrap="square" lIns="84469" tIns="42236" rIns="84469" bIns="42236" rtlCol="0">
            <a:spAutoFit/>
          </a:bodyPr>
          <a:lstStyle/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7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5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00" indent="-179967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628766066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 userDrawn="1"/>
        </p:nvGraphicFramePr>
        <p:xfrm>
          <a:off x="436022" y="1363806"/>
          <a:ext cx="11094065" cy="5185395"/>
        </p:xfrm>
        <a:graphic>
          <a:graphicData uri="http://schemas.openxmlformats.org/drawingml/2006/table">
            <a:tbl>
              <a:tblPr firstRow="1"/>
              <a:tblGrid>
                <a:gridCol w="4181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592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06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136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5731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5731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IN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N</a:t>
                      </a:r>
                      <a:endParaRPr lang="en-US" sz="1400" b="1" i="0" u="none" strike="noStrike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Area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kern="1200" cap="all">
                          <a:solidFill>
                            <a:srgbClr val="31A93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</a:t>
                      </a:r>
                      <a:endParaRPr lang="en-US" sz="1900" kern="1200">
                        <a:solidFill>
                          <a:srgbClr val="31A93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en-IN" sz="1400" b="1">
                          <a:solidFill>
                            <a:srgbClr val="FF0000"/>
                          </a:solidFill>
                        </a:rPr>
                        <a:t>X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9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1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3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4569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4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7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5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00" indent="-179967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403398422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1886074" y="2701587"/>
            <a:ext cx="1408890" cy="54477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ctr"/>
          <a:lstStyle/>
          <a:p>
            <a:pPr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246674" y="3336695"/>
            <a:ext cx="1408890" cy="808088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ctr"/>
          <a:lstStyle/>
          <a:p>
            <a:pPr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4612535" y="4354209"/>
            <a:ext cx="1408890" cy="201922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ctr"/>
          <a:lstStyle/>
          <a:p>
            <a:pPr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525460" y="1492844"/>
            <a:ext cx="11221609" cy="308998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ctr"/>
          <a:lstStyle/>
          <a:p>
            <a:pPr algn="ctr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800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1" name="Bent-Up Arrow 20"/>
          <p:cNvSpPr/>
          <p:nvPr userDrawn="1"/>
        </p:nvSpPr>
        <p:spPr>
          <a:xfrm rot="5400000">
            <a:off x="3379878" y="4018557"/>
            <a:ext cx="1099463" cy="1365860"/>
          </a:xfrm>
          <a:prstGeom prst="bentUpArrow">
            <a:avLst>
              <a:gd name="adj1" fmla="val 25000"/>
              <a:gd name="adj2" fmla="val 2589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ctr"/>
          <a:lstStyle/>
          <a:p>
            <a:pPr algn="ctr" defTabSz="914271" fontAlgn="base">
              <a:spcBef>
                <a:spcPct val="0"/>
              </a:spcBef>
              <a:spcAft>
                <a:spcPct val="0"/>
              </a:spcAft>
            </a:pPr>
            <a:endParaRPr lang="en-IN" sz="180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1941769" y="1950388"/>
            <a:ext cx="9733391" cy="58047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t" anchorCtr="0"/>
          <a:lstStyle/>
          <a:p>
            <a:pPr marL="158397" indent="-158397" defTabSz="914271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1100">
                <a:solidFill>
                  <a:srgbClr val="000000"/>
                </a:solidFill>
              </a:rPr>
              <a:t>Text</a:t>
            </a:r>
          </a:p>
          <a:p>
            <a:pPr marL="158397" indent="-158397" defTabSz="914271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110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3252287" y="2701607"/>
            <a:ext cx="8422873" cy="54620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t" anchorCtr="0"/>
          <a:lstStyle/>
          <a:p>
            <a:pPr marL="158397" indent="-158397" defTabSz="914271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1100">
                <a:solidFill>
                  <a:srgbClr val="000000"/>
                </a:solidFill>
              </a:rPr>
              <a:t> </a:t>
            </a:r>
          </a:p>
          <a:p>
            <a:pPr marL="158397" indent="-158397" defTabSz="914271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endParaRPr lang="en-IN" sz="1100">
              <a:solidFill>
                <a:srgbClr val="000000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4667154" y="3336698"/>
            <a:ext cx="7008014" cy="80751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t" anchorCtr="0"/>
          <a:lstStyle/>
          <a:p>
            <a:pPr marL="158397" indent="-158397" defTabSz="914271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1100">
                <a:solidFill>
                  <a:srgbClr val="000000"/>
                </a:solidFill>
              </a:rPr>
              <a:t>Text 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6061768" y="4354210"/>
            <a:ext cx="5613409" cy="201922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t" anchorCtr="0"/>
          <a:lstStyle/>
          <a:p>
            <a:pPr marL="158397" indent="-158397" defTabSz="914271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1100">
                <a:solidFill>
                  <a:srgbClr val="000000"/>
                </a:solidFill>
              </a:rPr>
              <a:t>Text </a:t>
            </a:r>
          </a:p>
          <a:p>
            <a:pPr marL="158397" indent="-158397" defTabSz="914271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endParaRPr lang="en-IN" sz="1100">
              <a:solidFill>
                <a:srgbClr val="000000"/>
              </a:solidFill>
            </a:endParaRPr>
          </a:p>
        </p:txBody>
      </p:sp>
      <p:sp>
        <p:nvSpPr>
          <p:cNvPr id="26" name="Bent-Up Arrow 25"/>
          <p:cNvSpPr/>
          <p:nvPr userDrawn="1"/>
        </p:nvSpPr>
        <p:spPr>
          <a:xfrm rot="5400000">
            <a:off x="2115664" y="3020745"/>
            <a:ext cx="901433" cy="1360598"/>
          </a:xfrm>
          <a:prstGeom prst="bentUpArrow">
            <a:avLst>
              <a:gd name="adj1" fmla="val 25000"/>
              <a:gd name="adj2" fmla="val 2589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ctr"/>
          <a:lstStyle/>
          <a:p>
            <a:pPr algn="ctr" defTabSz="914271" fontAlgn="base">
              <a:spcBef>
                <a:spcPct val="0"/>
              </a:spcBef>
              <a:spcAft>
                <a:spcPct val="0"/>
              </a:spcAft>
            </a:pPr>
            <a:endParaRPr lang="en-IN" sz="1800">
              <a:solidFill>
                <a:srgbClr val="FFFFFF"/>
              </a:solidFill>
            </a:endParaRPr>
          </a:p>
        </p:txBody>
      </p:sp>
      <p:sp>
        <p:nvSpPr>
          <p:cNvPr id="27" name="Bent-Up Arrow 26"/>
          <p:cNvSpPr/>
          <p:nvPr userDrawn="1"/>
        </p:nvSpPr>
        <p:spPr>
          <a:xfrm rot="5400000">
            <a:off x="847275" y="2207557"/>
            <a:ext cx="717007" cy="1360601"/>
          </a:xfrm>
          <a:prstGeom prst="bentUpArrow">
            <a:avLst>
              <a:gd name="adj1" fmla="val 25000"/>
              <a:gd name="adj2" fmla="val 24912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ctr"/>
          <a:lstStyle/>
          <a:p>
            <a:pPr algn="ctr" defTabSz="914271" fontAlgn="base">
              <a:spcBef>
                <a:spcPct val="0"/>
              </a:spcBef>
              <a:spcAft>
                <a:spcPct val="0"/>
              </a:spcAft>
            </a:pPr>
            <a:endParaRPr lang="en-IN" sz="1800">
              <a:solidFill>
                <a:srgbClr val="FFFFF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525474" y="1950395"/>
            <a:ext cx="1408890" cy="578957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79" tIns="42239" rIns="84479" bIns="42239" rtlCol="0" anchor="ctr"/>
          <a:lstStyle/>
          <a:p>
            <a:pPr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9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5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00" indent="-179967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535670987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/>
        </p:nvGraphicFramePr>
        <p:xfrm>
          <a:off x="279267" y="1349769"/>
          <a:ext cx="11712395" cy="5061360"/>
        </p:xfrm>
        <a:graphic>
          <a:graphicData uri="http://schemas.openxmlformats.org/drawingml/2006/table">
            <a:tbl>
              <a:tblPr firstRow="1"/>
              <a:tblGrid>
                <a:gridCol w="3534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466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251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8871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IN" sz="14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SN</a:t>
                      </a:r>
                      <a:endParaRPr lang="en-US" sz="14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Area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Progress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Remarks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6187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1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ctr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kern="1200">
                        <a:solidFill>
                          <a:srgbClr val="31A93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037" marR="42037" marT="35900" marB="3590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lvl="0" indent="0" algn="l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>
                        <a:solidFill>
                          <a:srgbClr val="31A93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6187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2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kern="1200">
                        <a:solidFill>
                          <a:srgbClr val="FF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037" marR="42037" marT="35900" marB="3590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3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4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6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7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8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9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5655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10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700" marR="12700" marT="967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6" name="Up Arrow 5"/>
          <p:cNvSpPr/>
          <p:nvPr userDrawn="1"/>
        </p:nvSpPr>
        <p:spPr bwMode="auto">
          <a:xfrm>
            <a:off x="6422926" y="1879849"/>
            <a:ext cx="252224" cy="323102"/>
          </a:xfrm>
          <a:prstGeom prst="upArrow">
            <a:avLst/>
          </a:prstGeom>
          <a:solidFill>
            <a:srgbClr val="00B050"/>
          </a:solidFill>
          <a:ln w="19050" cap="flat" cmpd="sng" algn="ctr">
            <a:solidFill>
              <a:srgbClr val="00B05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84479" tIns="42239" rIns="84479" bIns="42239" numCol="1" rtlCol="0" anchor="ctr" anchorCtr="0" compatLnSpc="1">
            <a:prstTxWarp prst="textNoShape">
              <a:avLst/>
            </a:prstTxWarp>
          </a:bodyPr>
          <a:lstStyle/>
          <a:p>
            <a:pPr algn="ctr" defTabSz="844786" fontAlgn="base">
              <a:spcBef>
                <a:spcPct val="0"/>
              </a:spcBef>
              <a:spcAft>
                <a:spcPct val="0"/>
              </a:spcAft>
            </a:pPr>
            <a:endParaRPr lang="en-IN" sz="1700">
              <a:solidFill>
                <a:srgbClr val="000000"/>
              </a:solidFill>
            </a:endParaRPr>
          </a:p>
        </p:txBody>
      </p:sp>
      <p:sp>
        <p:nvSpPr>
          <p:cNvPr id="7" name="Up Arrow 6"/>
          <p:cNvSpPr/>
          <p:nvPr userDrawn="1"/>
        </p:nvSpPr>
        <p:spPr bwMode="auto">
          <a:xfrm>
            <a:off x="6422926" y="2833804"/>
            <a:ext cx="252224" cy="323102"/>
          </a:xfrm>
          <a:prstGeom prst="upArrow">
            <a:avLst/>
          </a:prstGeom>
          <a:solidFill>
            <a:srgbClr val="00B050"/>
          </a:solidFill>
          <a:ln w="19050" cap="flat" cmpd="sng" algn="ctr">
            <a:solidFill>
              <a:srgbClr val="00B05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84479" tIns="42239" rIns="84479" bIns="42239" numCol="1" rtlCol="0" anchor="ctr" anchorCtr="0" compatLnSpc="1">
            <a:prstTxWarp prst="textNoShape">
              <a:avLst/>
            </a:prstTxWarp>
          </a:bodyPr>
          <a:lstStyle/>
          <a:p>
            <a:pPr algn="ctr" defTabSz="844786" fontAlgn="base">
              <a:spcBef>
                <a:spcPct val="0"/>
              </a:spcBef>
              <a:spcAft>
                <a:spcPct val="0"/>
              </a:spcAft>
            </a:pPr>
            <a:endParaRPr lang="en-IN" sz="1700">
              <a:solidFill>
                <a:srgbClr val="000000"/>
              </a:solidFill>
            </a:endParaRPr>
          </a:p>
        </p:txBody>
      </p:sp>
      <p:sp>
        <p:nvSpPr>
          <p:cNvPr id="8" name="Up Arrow 7"/>
          <p:cNvSpPr/>
          <p:nvPr userDrawn="1"/>
        </p:nvSpPr>
        <p:spPr bwMode="auto">
          <a:xfrm flipV="1">
            <a:off x="6422926" y="2384885"/>
            <a:ext cx="252224" cy="323102"/>
          </a:xfrm>
          <a:prstGeom prst="upArrow">
            <a:avLst/>
          </a:prstGeom>
          <a:solidFill>
            <a:srgbClr val="EB5335"/>
          </a:solidFill>
          <a:ln w="19050" cap="flat" cmpd="sng" algn="ctr">
            <a:solidFill>
              <a:srgbClr val="EB5335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84479" tIns="42239" rIns="84479" bIns="42239" numCol="1" rtlCol="0" anchor="ctr" anchorCtr="0" compatLnSpc="1">
            <a:prstTxWarp prst="textNoShape">
              <a:avLst/>
            </a:prstTxWarp>
          </a:bodyPr>
          <a:lstStyle/>
          <a:p>
            <a:pPr algn="ctr" defTabSz="844786" fontAlgn="base">
              <a:spcBef>
                <a:spcPct val="0"/>
              </a:spcBef>
              <a:spcAft>
                <a:spcPct val="0"/>
              </a:spcAft>
            </a:pPr>
            <a:endParaRPr lang="en-IN" sz="1700">
              <a:solidFill>
                <a:srgbClr val="000000"/>
              </a:solidFill>
            </a:endParaRP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5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00" indent="-179967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229686545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6195" y="1140024"/>
            <a:ext cx="11332606" cy="5121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6" name="Oval 25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237296" y="1155192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626195" y="2005565"/>
            <a:ext cx="11332606" cy="5555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" name="Oval 26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238512" y="207043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26195" y="2914521"/>
            <a:ext cx="11332606" cy="5710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0" name="Oval 26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229072" y="2970600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626195" y="3838962"/>
            <a:ext cx="11332606" cy="5439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2" name="Oval 26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247008" y="3874664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626195" y="4736287"/>
            <a:ext cx="11332606" cy="4936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159864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4" name="Oval 263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258278" y="4765994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626195" y="5521901"/>
            <a:ext cx="11332606" cy="4936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159864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6" name="Oval 263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258278" y="5551605"/>
            <a:ext cx="520402" cy="432832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484264014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805497" y="1659044"/>
            <a:ext cx="6126673" cy="6897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6" name="Oval 25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513638" y="1772438"/>
            <a:ext cx="546486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805497" y="2524605"/>
            <a:ext cx="6126673" cy="7481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" name="Oval 26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14854" y="2673652"/>
            <a:ext cx="546486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5497" y="3433565"/>
            <a:ext cx="6126673" cy="76902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0" name="Oval 26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505414" y="3587847"/>
            <a:ext cx="546486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805497" y="4358004"/>
            <a:ext cx="6126673" cy="7325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2" name="Oval 26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523354" y="4491910"/>
            <a:ext cx="546486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805497" y="5255356"/>
            <a:ext cx="6126673" cy="66479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4" name="Oval 263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485340" y="5341153"/>
            <a:ext cx="546486" cy="466704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79" tIns="42239" rIns="84479" bIns="42239" anchor="ctr"/>
          <a:lstStyle/>
          <a:p>
            <a:pPr algn="ctr" defTabSz="844786">
              <a:defRPr/>
            </a:pPr>
            <a:r>
              <a:rPr lang="en-US" sz="1700" kern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9478895" y="1667816"/>
            <a:ext cx="2233504" cy="689739"/>
          </a:xfrm>
          <a:prstGeom prst="rect">
            <a:avLst/>
          </a:prstGeom>
          <a:solidFill>
            <a:srgbClr val="E2FFC5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9478895" y="2533378"/>
            <a:ext cx="2233504" cy="748180"/>
          </a:xfrm>
          <a:prstGeom prst="rect">
            <a:avLst/>
          </a:prstGeom>
          <a:solidFill>
            <a:srgbClr val="E2FFC5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478895" y="3442338"/>
            <a:ext cx="2233504" cy="769026"/>
          </a:xfrm>
          <a:prstGeom prst="rect">
            <a:avLst/>
          </a:prstGeom>
          <a:solidFill>
            <a:srgbClr val="E2FFC5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9478895" y="4366780"/>
            <a:ext cx="2233504" cy="732512"/>
          </a:xfrm>
          <a:prstGeom prst="rect">
            <a:avLst/>
          </a:prstGeom>
          <a:solidFill>
            <a:srgbClr val="E2FFC5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9478895" y="5264132"/>
            <a:ext cx="2233504" cy="664795"/>
          </a:xfrm>
          <a:prstGeom prst="rect">
            <a:avLst/>
          </a:prstGeom>
          <a:solidFill>
            <a:srgbClr val="E2FFC5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159864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7096987" y="1667816"/>
            <a:ext cx="2233504" cy="689739"/>
          </a:xfrm>
          <a:prstGeom prst="rect">
            <a:avLst/>
          </a:prstGeom>
          <a:solidFill>
            <a:srgbClr val="F8D9FF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7096987" y="2533378"/>
            <a:ext cx="2233504" cy="748180"/>
          </a:xfrm>
          <a:prstGeom prst="rect">
            <a:avLst/>
          </a:prstGeom>
          <a:solidFill>
            <a:srgbClr val="F8D9FF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7096987" y="3442338"/>
            <a:ext cx="2233504" cy="769026"/>
          </a:xfrm>
          <a:prstGeom prst="rect">
            <a:avLst/>
          </a:prstGeom>
          <a:solidFill>
            <a:srgbClr val="F8D9FF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7096987" y="4366780"/>
            <a:ext cx="2233504" cy="732512"/>
          </a:xfrm>
          <a:prstGeom prst="rect">
            <a:avLst/>
          </a:prstGeom>
          <a:solidFill>
            <a:srgbClr val="F8D9FF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7096987" y="5264132"/>
            <a:ext cx="2233504" cy="664795"/>
          </a:xfrm>
          <a:prstGeom prst="rect">
            <a:avLst/>
          </a:prstGeom>
          <a:solidFill>
            <a:srgbClr val="F8D9FF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7409359" y="1306418"/>
            <a:ext cx="1228590" cy="316135"/>
          </a:xfrm>
          <a:prstGeom prst="rect">
            <a:avLst/>
          </a:prstGeom>
          <a:noFill/>
        </p:spPr>
        <p:txBody>
          <a:bodyPr wrap="none" lIns="84479" tIns="42239" rIns="84479" bIns="42239" rtlCol="0">
            <a:spAutoFit/>
          </a:bodyPr>
          <a:lstStyle/>
          <a:p>
            <a:pPr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Description</a:t>
            </a:r>
            <a:endParaRPr lang="en-US" sz="1500" b="1">
              <a:solidFill>
                <a:srgbClr val="000000"/>
              </a:solidFill>
            </a:endParaRPr>
          </a:p>
        </p:txBody>
      </p:sp>
      <p:sp>
        <p:nvSpPr>
          <p:cNvPr id="26" name="TextBox 25"/>
          <p:cNvSpPr txBox="1"/>
          <p:nvPr userDrawn="1"/>
        </p:nvSpPr>
        <p:spPr>
          <a:xfrm>
            <a:off x="9796354" y="1290698"/>
            <a:ext cx="1228590" cy="316135"/>
          </a:xfrm>
          <a:prstGeom prst="rect">
            <a:avLst/>
          </a:prstGeom>
          <a:noFill/>
        </p:spPr>
        <p:txBody>
          <a:bodyPr wrap="none" lIns="84479" tIns="42239" rIns="84479" bIns="42239" rtlCol="0">
            <a:spAutoFit/>
          </a:bodyPr>
          <a:lstStyle/>
          <a:p>
            <a:pPr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Description</a:t>
            </a:r>
            <a:endParaRPr lang="en-US" sz="1500" b="1">
              <a:solidFill>
                <a:srgbClr val="000000"/>
              </a:solidFill>
            </a:endParaRPr>
          </a:p>
        </p:txBody>
      </p:sp>
      <p:sp>
        <p:nvSpPr>
          <p:cNvPr id="27" name="TextBox 26"/>
          <p:cNvSpPr txBox="1"/>
          <p:nvPr userDrawn="1"/>
        </p:nvSpPr>
        <p:spPr>
          <a:xfrm>
            <a:off x="805489" y="1306451"/>
            <a:ext cx="1228590" cy="316135"/>
          </a:xfrm>
          <a:prstGeom prst="rect">
            <a:avLst/>
          </a:prstGeom>
          <a:noFill/>
        </p:spPr>
        <p:txBody>
          <a:bodyPr wrap="none" lIns="84479" tIns="42239" rIns="84479" bIns="42239" rtlCol="0">
            <a:spAutoFit/>
          </a:bodyPr>
          <a:lstStyle/>
          <a:p>
            <a:pPr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Description</a:t>
            </a:r>
            <a:endParaRPr lang="en-US" sz="1500" b="1">
              <a:solidFill>
                <a:srgbClr val="000000"/>
              </a:solidFill>
            </a:endParaRPr>
          </a:p>
        </p:txBody>
      </p:sp>
      <p:sp>
        <p:nvSpPr>
          <p:cNvPr id="28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5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00" indent="-179967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430374523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aphicFrame>
        <p:nvGraphicFramePr>
          <p:cNvPr id="5" name="Content Placeholder 3"/>
          <p:cNvGraphicFramePr>
            <a:graphicFrameLocks/>
          </p:cNvGraphicFramePr>
          <p:nvPr userDrawn="1"/>
        </p:nvGraphicFramePr>
        <p:xfrm>
          <a:off x="525664" y="1463064"/>
          <a:ext cx="11153881" cy="5183727"/>
        </p:xfrm>
        <a:graphic>
          <a:graphicData uri="http://schemas.openxmlformats.org/drawingml/2006/table">
            <a:tbl>
              <a:tblPr firstRow="1" bandRow="1"/>
              <a:tblGrid>
                <a:gridCol w="5256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98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2483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5916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SN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Particulars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Remarks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4461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1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endParaRPr lang="en-US" sz="1400" baseline="0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226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2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6669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3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0113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latin typeface="+mn-lt"/>
                          <a:cs typeface="Arial" pitchFamily="34" charset="0"/>
                        </a:rPr>
                        <a:t>4</a:t>
                      </a: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>
                        <a:latin typeface="+mn-lt"/>
                        <a:cs typeface="Arial" pitchFamily="34" charset="0"/>
                      </a:endParaRP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114673" marR="114673" marT="44888" marB="44888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5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00" indent="-179967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82593566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7" y="844555"/>
            <a:ext cx="11110383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537601" y="2088001"/>
            <a:ext cx="35136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59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4344000" y="2088001"/>
            <a:ext cx="3513600" cy="360000"/>
          </a:xfrm>
          <a:solidFill>
            <a:schemeClr val="bg1">
              <a:lumMod val="85000"/>
            </a:schemeClr>
          </a:solidFill>
        </p:spPr>
        <p:txBody>
          <a:bodyPr lIns="179959" anchor="ctr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37650" y="1513824"/>
            <a:ext cx="11131551" cy="369888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15"/>
          <p:cNvSpPr>
            <a:spLocks noGrp="1"/>
          </p:cNvSpPr>
          <p:nvPr>
            <p:ph type="body" sz="quarter" idx="18"/>
          </p:nvPr>
        </p:nvSpPr>
        <p:spPr>
          <a:xfrm>
            <a:off x="8136001" y="2088001"/>
            <a:ext cx="35136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59" anchor="ctr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537601" y="2430000"/>
            <a:ext cx="351360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4344000" y="2430000"/>
            <a:ext cx="351360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8136001" y="2430000"/>
            <a:ext cx="351360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2"/>
          </p:nvPr>
        </p:nvSpPr>
        <p:spPr>
          <a:xfrm>
            <a:off x="11641138" y="167389"/>
            <a:ext cx="670982" cy="215900"/>
          </a:xfrm>
          <a:prstGeom prst="rect">
            <a:avLst/>
          </a:prstGeom>
          <a:ln/>
        </p:spPr>
        <p:txBody>
          <a:bodyPr lIns="91436" tIns="45718" rIns="91436" bIns="45718"/>
          <a:lstStyle>
            <a:lvl1pPr>
              <a:defRPr/>
            </a:lvl1pPr>
          </a:lstStyle>
          <a:p>
            <a:pPr>
              <a:defRPr/>
            </a:pPr>
            <a:fld id="{DF7271F2-7CBD-49FF-AC82-FB447FEFDDB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ftr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2845751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/>
        </p:nvGraphicFramePr>
        <p:xfrm>
          <a:off x="525666" y="1401714"/>
          <a:ext cx="11137454" cy="2348293"/>
        </p:xfrm>
        <a:graphic>
          <a:graphicData uri="http://schemas.openxmlformats.org/drawingml/2006/table">
            <a:tbl>
              <a:tblPr/>
              <a:tblGrid>
                <a:gridCol w="20236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39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677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20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633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7986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6343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71044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75259">
                <a:tc>
                  <a:txBody>
                    <a:bodyPr/>
                    <a:lstStyle/>
                    <a:p>
                      <a:pPr algn="ctr" fontAlgn="b"/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oM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Change Q/Q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Change Y/Y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marks</a:t>
                      </a:r>
                    </a:p>
                  </a:txBody>
                  <a:tcPr marL="42037" marR="42037" marT="9499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8839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2037" marR="42037" marT="9499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6" name="Group 5"/>
          <p:cNvGrpSpPr/>
          <p:nvPr userDrawn="1"/>
        </p:nvGrpSpPr>
        <p:grpSpPr>
          <a:xfrm>
            <a:off x="530983" y="4193069"/>
            <a:ext cx="11148564" cy="2232086"/>
            <a:chOff x="123367" y="5147491"/>
            <a:chExt cx="8864071" cy="1583827"/>
          </a:xfrm>
        </p:grpSpPr>
        <p:sp>
          <p:nvSpPr>
            <p:cNvPr id="7" name="Tijdelijke aanduiding voor verticale tekst 24"/>
            <p:cNvSpPr txBox="1">
              <a:spLocks/>
            </p:cNvSpPr>
            <p:nvPr/>
          </p:nvSpPr>
          <p:spPr>
            <a:xfrm>
              <a:off x="123367" y="5405493"/>
              <a:ext cx="8864069" cy="1325825"/>
            </a:xfrm>
            <a:prstGeom prst="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 vert="horz" lIns="91440" tIns="45720" rIns="91440" bIns="45720" rtlCol="0">
              <a:norm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5611" lvl="1" fontAlgn="base">
                <a:spcAft>
                  <a:spcPct val="0"/>
                </a:spcAft>
                <a:buFont typeface="Wingdings" pitchFamily="2" charset="2"/>
                <a:buChar char="§"/>
              </a:pPr>
              <a:r>
                <a:rPr lang="en-GB" sz="1300">
                  <a:solidFill>
                    <a:srgbClr val="000000"/>
                  </a:solidFill>
                </a:rPr>
                <a:t>Text</a:t>
              </a:r>
              <a:endParaRPr lang="en-GB" sz="1100">
                <a:solidFill>
                  <a:srgbClr val="000000"/>
                </a:solidFill>
              </a:endParaRPr>
            </a:p>
          </p:txBody>
        </p:sp>
        <p:sp>
          <p:nvSpPr>
            <p:cNvPr id="8" name="Tijdelijke aanduiding voor verticale tekst 25"/>
            <p:cNvSpPr txBox="1">
              <a:spLocks/>
            </p:cNvSpPr>
            <p:nvPr/>
          </p:nvSpPr>
          <p:spPr>
            <a:xfrm>
              <a:off x="123368" y="5147491"/>
              <a:ext cx="8864070" cy="258002"/>
            </a:xfrm>
            <a:prstGeom prst="rect">
              <a:avLst/>
            </a:prstGeom>
            <a:solidFill>
              <a:schemeClr val="accent6">
                <a:lumMod val="10000"/>
                <a:lumOff val="90000"/>
              </a:schemeClr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 vert="horz" wrap="none" lIns="180000" tIns="72000" rIns="216000" bIns="4572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3"/>
                </a:buClr>
                <a:buFont typeface="Wingdings" panose="05000000000000000000" pitchFamily="2" charset="2"/>
                <a:buNone/>
                <a:defRPr sz="1800" b="1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177800" indent="-17780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5600" indent="-17780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3400" indent="-174625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725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i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563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5600" indent="-173038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tabLst/>
                <a:defRPr sz="16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8163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81957" fontAlgn="base">
                <a:lnSpc>
                  <a:spcPts val="1736"/>
                </a:lnSpc>
                <a:spcBef>
                  <a:spcPts val="578"/>
                </a:spcBef>
                <a:spcAft>
                  <a:spcPts val="578"/>
                </a:spcAft>
                <a:buClr>
                  <a:srgbClr val="FFA100"/>
                </a:buClr>
                <a:defRPr/>
              </a:pPr>
              <a:r>
                <a:rPr lang="en-US" sz="1500">
                  <a:solidFill>
                    <a:srgbClr val="000000"/>
                  </a:solidFill>
                </a:rPr>
                <a:t>Highlights</a:t>
              </a:r>
            </a:p>
          </p:txBody>
        </p:sp>
      </p:grpSp>
      <p:graphicFrame>
        <p:nvGraphicFramePr>
          <p:cNvPr id="9" name="Table 8"/>
          <p:cNvGraphicFramePr>
            <a:graphicFrameLocks noGrp="1"/>
          </p:cNvGraphicFramePr>
          <p:nvPr userDrawn="1"/>
        </p:nvGraphicFramePr>
        <p:xfrm>
          <a:off x="503757" y="3858781"/>
          <a:ext cx="11175785" cy="219415"/>
        </p:xfrm>
        <a:graphic>
          <a:graphicData uri="http://schemas.openxmlformats.org/drawingml/2006/table">
            <a:tbl>
              <a:tblPr/>
              <a:tblGrid>
                <a:gridCol w="27939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939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753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1252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941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ey</a:t>
                      </a:r>
                    </a:p>
                  </a:txBody>
                  <a:tcPr marL="11826" marR="11826" marT="967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11826" marR="11826" marT="96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11826" marR="11826" marT="96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6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11826" marR="11826" marT="9674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0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5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00" indent="-179967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88128055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Pentagon 4"/>
          <p:cNvSpPr/>
          <p:nvPr userDrawn="1"/>
        </p:nvSpPr>
        <p:spPr bwMode="auto">
          <a:xfrm>
            <a:off x="6012268" y="1599272"/>
            <a:ext cx="5913697" cy="4966170"/>
          </a:xfrm>
          <a:prstGeom prst="homePlate">
            <a:avLst>
              <a:gd name="adj" fmla="val 507"/>
            </a:avLst>
          </a:prstGeom>
          <a:solidFill>
            <a:schemeClr val="bg1"/>
          </a:solidFill>
          <a:ln w="3810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66297" tIns="166297" rIns="166297" bIns="166297" numCol="1" rtlCol="0" anchor="t" anchorCtr="0" compatLnSpc="1">
            <a:prstTxWarp prst="textNoShape">
              <a:avLst/>
            </a:prstTxWarp>
          </a:bodyPr>
          <a:lstStyle/>
          <a:p>
            <a:pPr defTabSz="844786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  <a:endParaRPr lang="en-IN" sz="1700" b="1">
              <a:solidFill>
                <a:srgbClr val="000000"/>
              </a:solidFill>
            </a:endParaRPr>
          </a:p>
          <a:p>
            <a:pPr marL="420926" indent="-263997" defTabSz="844786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1500">
                <a:solidFill>
                  <a:srgbClr val="000000"/>
                </a:solidFill>
              </a:rPr>
              <a:t>Text</a:t>
            </a:r>
          </a:p>
          <a:p>
            <a:pPr marL="420926" indent="-263997" defTabSz="844786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1500">
                <a:solidFill>
                  <a:srgbClr val="000000"/>
                </a:solidFill>
              </a:rPr>
              <a:t>Text</a:t>
            </a:r>
            <a:endParaRPr lang="en-IN" sz="1500" b="1">
              <a:solidFill>
                <a:srgbClr val="000000"/>
              </a:solidFill>
            </a:endParaRPr>
          </a:p>
        </p:txBody>
      </p:sp>
      <p:sp>
        <p:nvSpPr>
          <p:cNvPr id="6" name="Pentagon 5"/>
          <p:cNvSpPr/>
          <p:nvPr userDrawn="1"/>
        </p:nvSpPr>
        <p:spPr bwMode="auto">
          <a:xfrm>
            <a:off x="312105" y="1599272"/>
            <a:ext cx="5946545" cy="4966170"/>
          </a:xfrm>
          <a:prstGeom prst="homePlate">
            <a:avLst>
              <a:gd name="adj" fmla="val 8913"/>
            </a:avLst>
          </a:prstGeom>
          <a:solidFill>
            <a:schemeClr val="tx2">
              <a:lumMod val="20000"/>
              <a:lumOff val="80000"/>
            </a:schemeClr>
          </a:solidFill>
          <a:ln w="2857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66297" tIns="166297" rIns="166297" bIns="166297" numCol="1" rtlCol="0" anchor="t" anchorCtr="0" compatLnSpc="1">
            <a:prstTxWarp prst="textNoShape">
              <a:avLst/>
            </a:prstTxWarp>
          </a:bodyPr>
          <a:lstStyle/>
          <a:p>
            <a:pPr defTabSz="844786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  <a:endParaRPr lang="en-IN" sz="1700" b="1">
              <a:solidFill>
                <a:srgbClr val="000000"/>
              </a:solidFill>
            </a:endParaRPr>
          </a:p>
          <a:p>
            <a:pPr marL="420926" indent="-263997" defTabSz="844786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1500">
                <a:solidFill>
                  <a:srgbClr val="000000"/>
                </a:solidFill>
              </a:rPr>
              <a:t>Text</a:t>
            </a:r>
          </a:p>
          <a:p>
            <a:pPr marL="420926" indent="-263997" defTabSz="844786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150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91244" y="1106983"/>
            <a:ext cx="11634721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6027696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graphicFrame>
        <p:nvGraphicFramePr>
          <p:cNvPr id="5" name="Diagram 4"/>
          <p:cNvGraphicFramePr/>
          <p:nvPr userDrawn="1"/>
        </p:nvGraphicFramePr>
        <p:xfrm>
          <a:off x="537168" y="1585250"/>
          <a:ext cx="6444292" cy="46715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6981460" y="3194477"/>
            <a:ext cx="4714527" cy="1008627"/>
          </a:xfrm>
          <a:prstGeom prst="rect">
            <a:avLst/>
          </a:prstGeom>
          <a:noFill/>
          <a:ln>
            <a:noFill/>
          </a:ln>
        </p:spPr>
        <p:txBody>
          <a:bodyPr wrap="square" lIns="84469" tIns="42236" rIns="84469" bIns="42236" rtlCol="0">
            <a:spAutoFit/>
          </a:bodyPr>
          <a:lstStyle/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TEXT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6981460" y="1567143"/>
            <a:ext cx="4714527" cy="1008627"/>
          </a:xfrm>
          <a:prstGeom prst="rect">
            <a:avLst/>
          </a:prstGeom>
          <a:noFill/>
          <a:ln>
            <a:noFill/>
          </a:ln>
        </p:spPr>
        <p:txBody>
          <a:bodyPr wrap="square" lIns="84469" tIns="42236" rIns="84469" bIns="42236" rtlCol="0">
            <a:spAutoFit/>
          </a:bodyPr>
          <a:lstStyle/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TEXT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6981460" y="4821829"/>
            <a:ext cx="4714527" cy="1008627"/>
          </a:xfrm>
          <a:prstGeom prst="rect">
            <a:avLst/>
          </a:prstGeom>
          <a:noFill/>
          <a:ln>
            <a:noFill/>
          </a:ln>
        </p:spPr>
        <p:txBody>
          <a:bodyPr wrap="square" lIns="84469" tIns="42236" rIns="84469" bIns="42236" rtlCol="0">
            <a:spAutoFit/>
          </a:bodyPr>
          <a:lstStyle/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TEXT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5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00" indent="-179967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657854484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50588" y="1494335"/>
            <a:ext cx="2942619" cy="2513019"/>
          </a:xfrm>
          <a:prstGeom prst="rect">
            <a:avLst/>
          </a:prstGeom>
          <a:solidFill>
            <a:srgbClr val="E2FFC5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632790" y="1503196"/>
            <a:ext cx="2942619" cy="2513019"/>
          </a:xfrm>
          <a:prstGeom prst="rect">
            <a:avLst/>
          </a:prstGeom>
          <a:solidFill>
            <a:srgbClr val="E2FFC5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550588" y="4119599"/>
            <a:ext cx="2942619" cy="2513019"/>
          </a:xfrm>
          <a:prstGeom prst="rect">
            <a:avLst/>
          </a:prstGeom>
          <a:solidFill>
            <a:srgbClr val="E2FFC5"/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" name="Rectangle 7"/>
          <p:cNvSpPr/>
          <p:nvPr userDrawn="1"/>
        </p:nvSpPr>
        <p:spPr>
          <a:xfrm rot="425343">
            <a:off x="3775786" y="4199631"/>
            <a:ext cx="2858543" cy="244121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84479" tIns="42239" rIns="84479" bIns="42239" anchor="ctr" anchorCtr="0">
            <a:normAutofit/>
          </a:bodyPr>
          <a:lstStyle/>
          <a:p>
            <a:pPr marL="247862" algn="just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6981460" y="1482971"/>
            <a:ext cx="4714527" cy="1008627"/>
          </a:xfrm>
          <a:prstGeom prst="rect">
            <a:avLst/>
          </a:prstGeom>
          <a:noFill/>
          <a:ln>
            <a:noFill/>
          </a:ln>
        </p:spPr>
        <p:txBody>
          <a:bodyPr wrap="square" lIns="84469" tIns="42236" rIns="84469" bIns="42236" rtlCol="0">
            <a:spAutoFit/>
          </a:bodyPr>
          <a:lstStyle/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TEXT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  <a:p>
            <a:pPr marL="263966" indent="-263966" defTabSz="844697">
              <a:buFont typeface="Wingdings" pitchFamily="2" charset="2"/>
              <a:buChar char="§"/>
            </a:pPr>
            <a:r>
              <a:rPr lang="en-US" sz="150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10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5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00" indent="-179967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07873169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80695" y="1646879"/>
            <a:ext cx="3789566" cy="3590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195" tIns="44098" rIns="88195" bIns="44098" rtlCol="0" anchor="ctr"/>
          <a:lstStyle/>
          <a:p>
            <a:pPr algn="ctr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Description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017940" y="1632854"/>
            <a:ext cx="0" cy="5026039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8080331" y="1646885"/>
            <a:ext cx="0" cy="5026039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152451" y="3886918"/>
            <a:ext cx="3789562" cy="8338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88195" tIns="44098" rIns="88195" bIns="44098">
            <a:spAutoFit/>
          </a:bodyPr>
          <a:lstStyle/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100">
                <a:solidFill>
                  <a:srgbClr val="000000"/>
                </a:solidFill>
              </a:rPr>
              <a:t>Text</a:t>
            </a: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80697" y="3385236"/>
            <a:ext cx="11764448" cy="3590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195" tIns="44098" rIns="88195" bIns="44098" rtlCol="0" anchor="ctr"/>
          <a:lstStyle/>
          <a:p>
            <a:pPr algn="ctr" defTabSz="914271" fontAlgn="base">
              <a:spcBef>
                <a:spcPct val="0"/>
              </a:spcBef>
              <a:spcAft>
                <a:spcPct val="0"/>
              </a:spcAft>
              <a:buClr>
                <a:srgbClr val="3D7EDB"/>
              </a:buClr>
            </a:pPr>
            <a:r>
              <a:rPr lang="en-GB" sz="1500" b="1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164275" y="2073270"/>
            <a:ext cx="3789562" cy="8338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88195" tIns="44098" rIns="88195" bIns="44098">
            <a:spAutoFit/>
          </a:bodyPr>
          <a:lstStyle/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100">
                <a:solidFill>
                  <a:srgbClr val="000000"/>
                </a:solidFill>
              </a:rPr>
              <a:t>Text</a:t>
            </a: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4100077" y="1646879"/>
            <a:ext cx="3938430" cy="3590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195" tIns="44098" rIns="88195" bIns="44098" rtlCol="0" anchor="ctr"/>
          <a:lstStyle/>
          <a:p>
            <a:pPr algn="ctr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4071829" y="3886918"/>
            <a:ext cx="3938427" cy="8338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88195" tIns="44098" rIns="88195" bIns="44098">
            <a:spAutoFit/>
          </a:bodyPr>
          <a:lstStyle/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100">
                <a:solidFill>
                  <a:srgbClr val="000000"/>
                </a:solidFill>
              </a:rPr>
              <a:t>Text</a:t>
            </a: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4083654" y="2073270"/>
            <a:ext cx="3938427" cy="8338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88195" tIns="44098" rIns="88195" bIns="44098">
            <a:spAutoFit/>
          </a:bodyPr>
          <a:lstStyle/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100">
                <a:solidFill>
                  <a:srgbClr val="000000"/>
                </a:solidFill>
              </a:rPr>
              <a:t>Text</a:t>
            </a: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8183834" y="1646879"/>
            <a:ext cx="3789566" cy="3590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195" tIns="44098" rIns="88195" bIns="44098" rtlCol="0" anchor="ctr"/>
          <a:lstStyle/>
          <a:p>
            <a:pPr algn="ctr" defTabSz="914271" fontAlgn="base">
              <a:spcBef>
                <a:spcPct val="0"/>
              </a:spcBef>
              <a:spcAft>
                <a:spcPct val="0"/>
              </a:spcAft>
            </a:pPr>
            <a:r>
              <a:rPr lang="en-IN" sz="1300" b="1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8155602" y="3886918"/>
            <a:ext cx="3789562" cy="8338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88195" tIns="44098" rIns="88195" bIns="44098">
            <a:spAutoFit/>
          </a:bodyPr>
          <a:lstStyle/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100">
                <a:solidFill>
                  <a:srgbClr val="000000"/>
                </a:solidFill>
              </a:rPr>
              <a:t>Text</a:t>
            </a: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8167420" y="2073270"/>
            <a:ext cx="3789562" cy="8338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88195" tIns="44098" rIns="88195" bIns="44098">
            <a:spAutoFit/>
          </a:bodyPr>
          <a:lstStyle/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100">
                <a:solidFill>
                  <a:srgbClr val="000000"/>
                </a:solidFill>
              </a:rPr>
              <a:t>Text</a:t>
            </a: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  <a:p>
            <a:pPr marL="91870" indent="-91870" defTabSz="91427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24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29982" y="967985"/>
            <a:ext cx="11761676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00" indent="-179967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929216466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gray">
          <a:xfrm>
            <a:off x="393914" y="1285708"/>
            <a:ext cx="11334393" cy="4667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marL="316795" indent="-316795" defTabSz="914271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  <a:endParaRPr lang="en-IN" sz="1500" noProof="1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gray">
          <a:xfrm>
            <a:off x="393914" y="1921837"/>
            <a:ext cx="11334393" cy="46670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>
              <a:solidFill>
                <a:srgbClr val="000000"/>
              </a:solidFill>
            </a:endParaRPr>
          </a:p>
          <a:p>
            <a:pPr marL="316795" indent="-316795" defTabSz="914271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2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</a:p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 noProof="1">
              <a:solidFill>
                <a:srgbClr val="000000"/>
              </a:solidFill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gray">
          <a:xfrm>
            <a:off x="393914" y="2557966"/>
            <a:ext cx="11334393" cy="4667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>
              <a:solidFill>
                <a:srgbClr val="000000"/>
              </a:solidFill>
            </a:endParaRPr>
          </a:p>
          <a:p>
            <a:pPr marL="316795" indent="-316795" defTabSz="914271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3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</a:p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 noProof="1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gray">
          <a:xfrm>
            <a:off x="393914" y="3830224"/>
            <a:ext cx="11334393" cy="4667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>
              <a:solidFill>
                <a:srgbClr val="000000"/>
              </a:solidFill>
            </a:endParaRPr>
          </a:p>
          <a:p>
            <a:pPr marL="316795" indent="-316795" defTabSz="914271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5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</a:p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 noProof="1">
              <a:solidFill>
                <a:srgbClr val="000000"/>
              </a:solidFill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gray">
          <a:xfrm>
            <a:off x="393914" y="3194095"/>
            <a:ext cx="11334393" cy="46670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marL="316795" indent="-316795" defTabSz="914271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4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  <a:endParaRPr lang="en-US" sz="1500" noProof="1">
              <a:solidFill>
                <a:srgbClr val="000000"/>
              </a:solidFill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gray">
          <a:xfrm>
            <a:off x="393914" y="4466353"/>
            <a:ext cx="11334393" cy="46670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marL="316795" indent="-316795" defTabSz="914271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6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  <a:endParaRPr lang="en-US" sz="1500" noProof="1">
              <a:solidFill>
                <a:srgbClr val="000000"/>
              </a:solidFill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gray">
          <a:xfrm>
            <a:off x="393914" y="5102480"/>
            <a:ext cx="11334393" cy="4667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12" tIns="67145" rIns="67145" bIns="67145" anchor="ctr"/>
          <a:lstStyle/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>
              <a:solidFill>
                <a:srgbClr val="000000"/>
              </a:solidFill>
            </a:endParaRPr>
          </a:p>
          <a:p>
            <a:pPr marL="316795" indent="-316795" defTabSz="914271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7"/>
              <a:defRPr/>
            </a:pPr>
            <a:r>
              <a:rPr lang="en-US" sz="1500">
                <a:solidFill>
                  <a:srgbClr val="000000"/>
                </a:solidFill>
              </a:rPr>
              <a:t>Text</a:t>
            </a:r>
          </a:p>
          <a:p>
            <a:pPr defTabSz="914271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1500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5511114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1137" y="167389"/>
            <a:ext cx="670982" cy="2159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12" name="Content Placeholder 22"/>
          <p:cNvSpPr>
            <a:spLocks noGrp="1"/>
          </p:cNvSpPr>
          <p:nvPr userDrawn="1"/>
        </p:nvSpPr>
        <p:spPr bwMode="auto">
          <a:xfrm>
            <a:off x="1911837" y="1434892"/>
            <a:ext cx="9644294" cy="1003266"/>
          </a:xfrm>
          <a:prstGeom prst="rect">
            <a:avLst/>
          </a:prstGeom>
          <a:solidFill>
            <a:srgbClr val="00B0F0">
              <a:lumMod val="20000"/>
              <a:lumOff val="80000"/>
            </a:srgbClr>
          </a:solidFill>
          <a:ln w="12700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337914" tIns="42239" rIns="42239" bIns="42239" numCol="1" anchor="ctr" anchorCtr="0" compatLnSpc="1">
            <a:prstTxWarp prst="textNoShape">
              <a:avLst/>
            </a:prstTxWarp>
          </a:bodyPr>
          <a:lstStyle>
            <a:lvl1pPr marL="228600" indent="-228600" algn="l" defTabSz="1019175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4080"/>
              </a:buClr>
              <a:buSzPct val="90000"/>
              <a:buFont typeface="Wingdings" pitchFamily="2" charset="2"/>
              <a:buChar char="n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90525" indent="-142875" algn="l" defTabSz="1019175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Arial" pitchFamily="34" charset="0"/>
              <a:buChar char="–"/>
              <a:defRPr sz="1100">
                <a:solidFill>
                  <a:srgbClr val="000000"/>
                </a:solidFill>
                <a:latin typeface="+mn-lt"/>
              </a:defRPr>
            </a:lvl2pPr>
            <a:lvl3pPr marL="504825" indent="-104775" algn="l" defTabSz="1019175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3pPr>
            <a:lvl4pPr marL="904875" indent="-212725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4pPr>
            <a:lvl5pPr marL="11477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5pPr>
            <a:lvl6pPr marL="16049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6pPr>
            <a:lvl7pPr marL="20621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7pPr>
            <a:lvl8pPr marL="25193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8pPr>
            <a:lvl9pPr marL="29765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211196" indent="-211196" defTabSz="941585">
              <a:spcBef>
                <a:spcPts val="554"/>
              </a:spcBef>
              <a:defRPr/>
            </a:pPr>
            <a:r>
              <a:rPr lang="en-US" sz="1300" kern="0"/>
              <a:t>Sample 1</a:t>
            </a:r>
          </a:p>
          <a:p>
            <a:pPr marL="360794" lvl="1" indent="-131998" defTabSz="941585">
              <a:spcBef>
                <a:spcPts val="370"/>
              </a:spcBef>
              <a:defRPr/>
            </a:pPr>
            <a:r>
              <a:rPr lang="en-US" sz="1300" kern="0"/>
              <a:t>Sample 2</a:t>
            </a:r>
          </a:p>
          <a:p>
            <a:pPr marL="466392" lvl="2" indent="-96798" defTabSz="941585">
              <a:spcBef>
                <a:spcPts val="185"/>
              </a:spcBef>
              <a:defRPr/>
            </a:pPr>
            <a:r>
              <a:rPr lang="en-US" sz="1300" kern="0"/>
              <a:t>Sample 3</a:t>
            </a:r>
          </a:p>
        </p:txBody>
      </p:sp>
      <p:sp>
        <p:nvSpPr>
          <p:cNvPr id="14" name="Oval 13"/>
          <p:cNvSpPr/>
          <p:nvPr userDrawn="1"/>
        </p:nvSpPr>
        <p:spPr>
          <a:xfrm>
            <a:off x="949111" y="1372656"/>
            <a:ext cx="1326457" cy="1135163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84479" tIns="42239" rIns="84479" bIns="42239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786">
              <a:defRPr/>
            </a:pPr>
            <a:r>
              <a:rPr lang="en-US" sz="1300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7" name="Content Placeholder 22"/>
          <p:cNvSpPr>
            <a:spLocks noGrp="1"/>
          </p:cNvSpPr>
          <p:nvPr userDrawn="1"/>
        </p:nvSpPr>
        <p:spPr bwMode="auto">
          <a:xfrm>
            <a:off x="2419636" y="2918487"/>
            <a:ext cx="9085653" cy="1003266"/>
          </a:xfrm>
          <a:prstGeom prst="rect">
            <a:avLst/>
          </a:prstGeom>
          <a:solidFill>
            <a:srgbClr val="00B0F0">
              <a:lumMod val="20000"/>
              <a:lumOff val="80000"/>
            </a:srgbClr>
          </a:solidFill>
          <a:ln w="12700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337914" tIns="42239" rIns="42239" bIns="42239" numCol="1" anchor="ctr" anchorCtr="0" compatLnSpc="1">
            <a:prstTxWarp prst="textNoShape">
              <a:avLst/>
            </a:prstTxWarp>
          </a:bodyPr>
          <a:lstStyle>
            <a:lvl1pPr marL="228600" indent="-228600" algn="l" defTabSz="1019175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4080"/>
              </a:buClr>
              <a:buSzPct val="90000"/>
              <a:buFont typeface="Wingdings" pitchFamily="2" charset="2"/>
              <a:buChar char="n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90525" indent="-142875" algn="l" defTabSz="1019175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Arial" pitchFamily="34" charset="0"/>
              <a:buChar char="–"/>
              <a:defRPr sz="1100">
                <a:solidFill>
                  <a:srgbClr val="000000"/>
                </a:solidFill>
                <a:latin typeface="+mn-lt"/>
              </a:defRPr>
            </a:lvl2pPr>
            <a:lvl3pPr marL="504825" indent="-104775" algn="l" defTabSz="1019175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3pPr>
            <a:lvl4pPr marL="904875" indent="-212725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4pPr>
            <a:lvl5pPr marL="11477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5pPr>
            <a:lvl6pPr marL="16049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6pPr>
            <a:lvl7pPr marL="20621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7pPr>
            <a:lvl8pPr marL="25193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8pPr>
            <a:lvl9pPr marL="29765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211196" indent="-211196" defTabSz="941585">
              <a:spcBef>
                <a:spcPts val="554"/>
              </a:spcBef>
              <a:defRPr/>
            </a:pPr>
            <a:r>
              <a:rPr lang="en-US" sz="1300" kern="0"/>
              <a:t>Sample 1</a:t>
            </a:r>
          </a:p>
          <a:p>
            <a:pPr marL="360794" lvl="1" indent="-131998" defTabSz="941585">
              <a:spcBef>
                <a:spcPts val="370"/>
              </a:spcBef>
              <a:defRPr/>
            </a:pPr>
            <a:r>
              <a:rPr lang="en-US" sz="1300" kern="0"/>
              <a:t>Sample 2</a:t>
            </a:r>
          </a:p>
          <a:p>
            <a:pPr marL="466392" lvl="2" indent="-96798" defTabSz="941585">
              <a:spcBef>
                <a:spcPts val="185"/>
              </a:spcBef>
              <a:defRPr/>
            </a:pPr>
            <a:r>
              <a:rPr lang="en-US" sz="1300" kern="0"/>
              <a:t>Sample 3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1456912" y="2856272"/>
            <a:ext cx="1326457" cy="1135163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84479" tIns="42239" rIns="84479" bIns="42239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786">
              <a:defRPr/>
            </a:pPr>
            <a:r>
              <a:rPr lang="en-US" sz="1300" b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9" name="Content Placeholder 22"/>
          <p:cNvSpPr>
            <a:spLocks noGrp="1"/>
          </p:cNvSpPr>
          <p:nvPr userDrawn="1"/>
        </p:nvSpPr>
        <p:spPr bwMode="auto">
          <a:xfrm>
            <a:off x="2004394" y="4474454"/>
            <a:ext cx="9517841" cy="1003266"/>
          </a:xfrm>
          <a:prstGeom prst="rect">
            <a:avLst/>
          </a:prstGeom>
          <a:solidFill>
            <a:srgbClr val="00B0F0">
              <a:lumMod val="20000"/>
              <a:lumOff val="80000"/>
            </a:srgbClr>
          </a:solidFill>
          <a:ln w="12700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337914" tIns="42239" rIns="42239" bIns="42239" numCol="1" anchor="ctr" anchorCtr="0" compatLnSpc="1">
            <a:prstTxWarp prst="textNoShape">
              <a:avLst/>
            </a:prstTxWarp>
          </a:bodyPr>
          <a:lstStyle>
            <a:lvl1pPr marL="228600" indent="-228600" algn="l" defTabSz="1019175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4080"/>
              </a:buClr>
              <a:buSzPct val="90000"/>
              <a:buFont typeface="Wingdings" pitchFamily="2" charset="2"/>
              <a:buChar char="n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90525" indent="-142875" algn="l" defTabSz="1019175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Arial" pitchFamily="34" charset="0"/>
              <a:buChar char="–"/>
              <a:defRPr sz="1100">
                <a:solidFill>
                  <a:srgbClr val="000000"/>
                </a:solidFill>
                <a:latin typeface="+mn-lt"/>
              </a:defRPr>
            </a:lvl2pPr>
            <a:lvl3pPr marL="504825" indent="-104775" algn="l" defTabSz="1019175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3pPr>
            <a:lvl4pPr marL="904875" indent="-212725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4pPr>
            <a:lvl5pPr marL="11477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5pPr>
            <a:lvl6pPr marL="16049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6pPr>
            <a:lvl7pPr marL="20621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7pPr>
            <a:lvl8pPr marL="25193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8pPr>
            <a:lvl9pPr marL="29765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211196" indent="-211196" defTabSz="941585">
              <a:spcBef>
                <a:spcPts val="554"/>
              </a:spcBef>
              <a:defRPr/>
            </a:pPr>
            <a:r>
              <a:rPr lang="en-US" sz="1300" kern="0"/>
              <a:t>Sample 1</a:t>
            </a:r>
          </a:p>
          <a:p>
            <a:pPr marL="360794" lvl="1" indent="-131998" defTabSz="941585">
              <a:spcBef>
                <a:spcPts val="370"/>
              </a:spcBef>
              <a:defRPr/>
            </a:pPr>
            <a:r>
              <a:rPr lang="en-US" sz="1300" kern="0"/>
              <a:t>Sample 2</a:t>
            </a:r>
          </a:p>
          <a:p>
            <a:pPr marL="466392" lvl="2" indent="-96798" defTabSz="941585">
              <a:spcBef>
                <a:spcPts val="185"/>
              </a:spcBef>
              <a:defRPr/>
            </a:pPr>
            <a:r>
              <a:rPr lang="en-US" sz="1300" kern="0"/>
              <a:t>Sample 3</a:t>
            </a:r>
          </a:p>
        </p:txBody>
      </p:sp>
      <p:sp>
        <p:nvSpPr>
          <p:cNvPr id="20" name="Oval 19"/>
          <p:cNvSpPr/>
          <p:nvPr userDrawn="1"/>
        </p:nvSpPr>
        <p:spPr>
          <a:xfrm>
            <a:off x="1041674" y="4412239"/>
            <a:ext cx="1326457" cy="1135163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84479" tIns="42239" rIns="84479" bIns="42239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786">
              <a:defRPr/>
            </a:pPr>
            <a:r>
              <a:rPr lang="en-US" sz="1300" b="1">
                <a:solidFill>
                  <a:srgbClr val="FFFFFF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025865537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PP header horizon met logo's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4225" y="407988"/>
            <a:ext cx="12196233" cy="1566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4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80" y="2374900"/>
            <a:ext cx="11110382" cy="1144588"/>
          </a:xfrm>
        </p:spPr>
        <p:txBody>
          <a:bodyPr bIns="47820"/>
          <a:lstStyle>
            <a:lvl1pPr>
              <a:defRPr sz="255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4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780" y="6191317"/>
            <a:ext cx="11110382" cy="417513"/>
          </a:xfrm>
        </p:spPr>
        <p:txBody>
          <a:bodyPr tIns="47820" rIns="95631" bIns="47820"/>
          <a:lstStyle>
            <a:lvl1pPr marL="0" indent="0">
              <a:buFontTx/>
              <a:buNone/>
              <a:defRPr sz="135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0014537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27638" y="521895"/>
            <a:ext cx="11632606" cy="360363"/>
          </a:xfrm>
        </p:spPr>
        <p:txBody>
          <a:bodyPr/>
          <a:lstStyle>
            <a:lvl1pPr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5"/>
          </p:nvPr>
        </p:nvSpPr>
        <p:spPr>
          <a:xfrm>
            <a:off x="279286" y="1094248"/>
            <a:ext cx="11613835" cy="5204657"/>
          </a:xfrm>
        </p:spPr>
        <p:txBody>
          <a:bodyPr/>
          <a:lstStyle>
            <a:lvl1pPr>
              <a:defRPr sz="1125">
                <a:latin typeface="Arial" pitchFamily="34" charset="0"/>
                <a:cs typeface="Arial" pitchFamily="34" charset="0"/>
              </a:defRPr>
            </a:lvl1pPr>
            <a:lvl2pPr>
              <a:defRPr sz="1050">
                <a:latin typeface="Arial" pitchFamily="34" charset="0"/>
                <a:cs typeface="Arial" pitchFamily="34" charset="0"/>
              </a:defRPr>
            </a:lvl2pPr>
            <a:lvl3pPr marL="423582" indent="-141194">
              <a:buClr>
                <a:schemeClr val="tx2"/>
              </a:buClr>
              <a:buFont typeface="Wingdings" pitchFamily="2" charset="2"/>
              <a:buChar char="§"/>
              <a:defRPr sz="9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94800949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PP header horizon met logo's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4226" y="407988"/>
            <a:ext cx="12196233" cy="1566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4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57" y="2374900"/>
            <a:ext cx="11110383" cy="1144588"/>
          </a:xfrm>
        </p:spPr>
        <p:txBody>
          <a:bodyPr bIns="45712"/>
          <a:lstStyle>
            <a:lvl1pPr>
              <a:defRPr sz="26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4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757" y="6191280"/>
            <a:ext cx="11110383" cy="417513"/>
          </a:xfrm>
        </p:spPr>
        <p:txBody>
          <a:bodyPr tIns="45712" rIns="91422" bIns="45712"/>
          <a:lstStyle>
            <a:lvl1pPr marL="0" indent="0">
              <a:buFontTx/>
              <a:buNone/>
              <a:defRPr sz="1463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766854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slideLayout" Target="../slideLayouts/slideLayout137.xml"/><Relationship Id="rId18" Type="http://schemas.openxmlformats.org/officeDocument/2006/relationships/slideLayout" Target="../slideLayouts/slideLayout142.xml"/><Relationship Id="rId26" Type="http://schemas.openxmlformats.org/officeDocument/2006/relationships/theme" Target="../theme/theme10.xml"/><Relationship Id="rId3" Type="http://schemas.openxmlformats.org/officeDocument/2006/relationships/slideLayout" Target="../slideLayouts/slideLayout127.xml"/><Relationship Id="rId21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131.xml"/><Relationship Id="rId12" Type="http://schemas.openxmlformats.org/officeDocument/2006/relationships/slideLayout" Target="../slideLayouts/slideLayout136.xml"/><Relationship Id="rId17" Type="http://schemas.openxmlformats.org/officeDocument/2006/relationships/slideLayout" Target="../slideLayouts/slideLayout141.xml"/><Relationship Id="rId25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26.xml"/><Relationship Id="rId16" Type="http://schemas.openxmlformats.org/officeDocument/2006/relationships/slideLayout" Target="../slideLayouts/slideLayout140.xml"/><Relationship Id="rId20" Type="http://schemas.openxmlformats.org/officeDocument/2006/relationships/slideLayout" Target="../slideLayouts/slideLayout144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24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29.xml"/><Relationship Id="rId15" Type="http://schemas.openxmlformats.org/officeDocument/2006/relationships/slideLayout" Target="../slideLayouts/slideLayout139.xml"/><Relationship Id="rId23" Type="http://schemas.openxmlformats.org/officeDocument/2006/relationships/slideLayout" Target="../slideLayouts/slideLayout147.xml"/><Relationship Id="rId28" Type="http://schemas.openxmlformats.org/officeDocument/2006/relationships/oleObject" Target="../embeddings/oleObject13.bin"/><Relationship Id="rId10" Type="http://schemas.openxmlformats.org/officeDocument/2006/relationships/slideLayout" Target="../slideLayouts/slideLayout134.xml"/><Relationship Id="rId19" Type="http://schemas.openxmlformats.org/officeDocument/2006/relationships/slideLayout" Target="../slideLayouts/slideLayout143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slideLayout" Target="../slideLayouts/slideLayout138.xml"/><Relationship Id="rId22" Type="http://schemas.openxmlformats.org/officeDocument/2006/relationships/slideLayout" Target="../slideLayouts/slideLayout146.xml"/><Relationship Id="rId27" Type="http://schemas.openxmlformats.org/officeDocument/2006/relationships/tags" Target="../tags/tag131.xml"/><Relationship Id="rId30" Type="http://schemas.openxmlformats.org/officeDocument/2006/relationships/image" Target="../media/image2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oleObject" Target="../embeddings/oleObject14.bin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tags" Target="../tags/tag148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theme" Target="../theme/theme11.xml"/><Relationship Id="rId5" Type="http://schemas.openxmlformats.org/officeDocument/2006/relationships/slideLayout" Target="../slideLayouts/slideLayout154.xml"/><Relationship Id="rId15" Type="http://schemas.openxmlformats.org/officeDocument/2006/relationships/image" Target="../media/image17.emf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image" Target="../media/image16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.xml"/><Relationship Id="rId13" Type="http://schemas.openxmlformats.org/officeDocument/2006/relationships/tags" Target="../tags/tag151.xml"/><Relationship Id="rId3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66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slideLayout" Target="../slideLayouts/slideLayout165.xml"/><Relationship Id="rId11" Type="http://schemas.openxmlformats.org/officeDocument/2006/relationships/slideLayout" Target="../slideLayouts/slideLayout170.xml"/><Relationship Id="rId5" Type="http://schemas.openxmlformats.org/officeDocument/2006/relationships/slideLayout" Target="../slideLayouts/slideLayout164.xml"/><Relationship Id="rId15" Type="http://schemas.openxmlformats.org/officeDocument/2006/relationships/image" Target="../media/image18.emf"/><Relationship Id="rId10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63.xml"/><Relationship Id="rId9" Type="http://schemas.openxmlformats.org/officeDocument/2006/relationships/slideLayout" Target="../slideLayouts/slideLayout168.xml"/><Relationship Id="rId14" Type="http://schemas.openxmlformats.org/officeDocument/2006/relationships/oleObject" Target="../embeddings/oleObject16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8.xml"/><Relationship Id="rId13" Type="http://schemas.openxmlformats.org/officeDocument/2006/relationships/slideLayout" Target="../slideLayouts/slideLayout183.xml"/><Relationship Id="rId18" Type="http://schemas.openxmlformats.org/officeDocument/2006/relationships/slideLayout" Target="../slideLayouts/slideLayout188.xml"/><Relationship Id="rId26" Type="http://schemas.openxmlformats.org/officeDocument/2006/relationships/tags" Target="../tags/tag152.xml"/><Relationship Id="rId3" Type="http://schemas.openxmlformats.org/officeDocument/2006/relationships/slideLayout" Target="../slideLayouts/slideLayout173.xml"/><Relationship Id="rId21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77.xml"/><Relationship Id="rId12" Type="http://schemas.openxmlformats.org/officeDocument/2006/relationships/slideLayout" Target="../slideLayouts/slideLayout182.xml"/><Relationship Id="rId17" Type="http://schemas.openxmlformats.org/officeDocument/2006/relationships/slideLayout" Target="../slideLayouts/slideLayout187.xml"/><Relationship Id="rId25" Type="http://schemas.openxmlformats.org/officeDocument/2006/relationships/theme" Target="../theme/theme13.xml"/><Relationship Id="rId2" Type="http://schemas.openxmlformats.org/officeDocument/2006/relationships/slideLayout" Target="../slideLayouts/slideLayout172.xml"/><Relationship Id="rId16" Type="http://schemas.openxmlformats.org/officeDocument/2006/relationships/slideLayout" Target="../slideLayouts/slideLayout186.xml"/><Relationship Id="rId20" Type="http://schemas.openxmlformats.org/officeDocument/2006/relationships/slideLayout" Target="../slideLayouts/slideLayout190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71.xml"/><Relationship Id="rId6" Type="http://schemas.openxmlformats.org/officeDocument/2006/relationships/slideLayout" Target="../slideLayouts/slideLayout176.xml"/><Relationship Id="rId11" Type="http://schemas.openxmlformats.org/officeDocument/2006/relationships/slideLayout" Target="../slideLayouts/slideLayout181.xml"/><Relationship Id="rId24" Type="http://schemas.openxmlformats.org/officeDocument/2006/relationships/slideLayout" Target="../slideLayouts/slideLayout194.xml"/><Relationship Id="rId5" Type="http://schemas.openxmlformats.org/officeDocument/2006/relationships/slideLayout" Target="../slideLayouts/slideLayout175.xml"/><Relationship Id="rId15" Type="http://schemas.openxmlformats.org/officeDocument/2006/relationships/slideLayout" Target="../slideLayouts/slideLayout185.xml"/><Relationship Id="rId23" Type="http://schemas.openxmlformats.org/officeDocument/2006/relationships/slideLayout" Target="../slideLayouts/slideLayout19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80.xml"/><Relationship Id="rId19" Type="http://schemas.openxmlformats.org/officeDocument/2006/relationships/slideLayout" Target="../slideLayouts/slideLayout189.xml"/><Relationship Id="rId4" Type="http://schemas.openxmlformats.org/officeDocument/2006/relationships/slideLayout" Target="../slideLayouts/slideLayout174.xml"/><Relationship Id="rId9" Type="http://schemas.openxmlformats.org/officeDocument/2006/relationships/slideLayout" Target="../slideLayouts/slideLayout179.xml"/><Relationship Id="rId14" Type="http://schemas.openxmlformats.org/officeDocument/2006/relationships/slideLayout" Target="../slideLayouts/slideLayout184.xml"/><Relationship Id="rId22" Type="http://schemas.openxmlformats.org/officeDocument/2006/relationships/slideLayout" Target="../slideLayouts/slideLayout192.xml"/><Relationship Id="rId27" Type="http://schemas.openxmlformats.org/officeDocument/2006/relationships/oleObject" Target="../embeddings/oleObject17.bin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tags" Target="../tags/tag169.xml"/><Relationship Id="rId1" Type="http://schemas.openxmlformats.org/officeDocument/2006/relationships/theme" Target="../theme/theme14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tags" Target="../tags/tag170.xml"/><Relationship Id="rId1" Type="http://schemas.openxmlformats.org/officeDocument/2006/relationships/theme" Target="../theme/theme15.xml"/><Relationship Id="rId4" Type="http://schemas.openxmlformats.org/officeDocument/2006/relationships/image" Target="../media/image19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oleObject" Target="../embeddings/oleObject2.bin"/><Relationship Id="rId3" Type="http://schemas.openxmlformats.org/officeDocument/2006/relationships/slideLayout" Target="../slideLayouts/slideLayout27.xml"/><Relationship Id="rId21" Type="http://schemas.openxmlformats.org/officeDocument/2006/relationships/tags" Target="../tags/tag31.xml"/><Relationship Id="rId7" Type="http://schemas.openxmlformats.org/officeDocument/2006/relationships/slideLayout" Target="../slideLayouts/slideLayout31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2" Type="http://schemas.openxmlformats.org/officeDocument/2006/relationships/slideLayout" Target="../slideLayouts/slideLayout26.xml"/><Relationship Id="rId16" Type="http://schemas.openxmlformats.org/officeDocument/2006/relationships/tags" Target="../tags/tag26.xml"/><Relationship Id="rId20" Type="http://schemas.openxmlformats.org/officeDocument/2006/relationships/tags" Target="../tags/tag30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5" Type="http://schemas.openxmlformats.org/officeDocument/2006/relationships/slideLayout" Target="../slideLayouts/slideLayout29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image" Target="../media/image5.jpeg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4" Type="http://schemas.openxmlformats.org/officeDocument/2006/relationships/slideLayout" Target="../slideLayouts/slideLayout28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image" Target="../media/image4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26" Type="http://schemas.openxmlformats.org/officeDocument/2006/relationships/oleObject" Target="../embeddings/oleObject4.bin"/><Relationship Id="rId3" Type="http://schemas.openxmlformats.org/officeDocument/2006/relationships/slideLayout" Target="../slideLayouts/slideLayout34.xml"/><Relationship Id="rId21" Type="http://schemas.openxmlformats.org/officeDocument/2006/relationships/tags" Target="../tags/tag52.xml"/><Relationship Id="rId7" Type="http://schemas.openxmlformats.org/officeDocument/2006/relationships/slideLayout" Target="../slideLayouts/slideLayout38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5" Type="http://schemas.openxmlformats.org/officeDocument/2006/relationships/tags" Target="../tags/tag56.xml"/><Relationship Id="rId2" Type="http://schemas.openxmlformats.org/officeDocument/2006/relationships/slideLayout" Target="../slideLayouts/slideLayout33.xml"/><Relationship Id="rId16" Type="http://schemas.openxmlformats.org/officeDocument/2006/relationships/tags" Target="../tags/tag47.xml"/><Relationship Id="rId20" Type="http://schemas.openxmlformats.org/officeDocument/2006/relationships/tags" Target="../tags/tag51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tags" Target="../tags/tag42.xml"/><Relationship Id="rId24" Type="http://schemas.openxmlformats.org/officeDocument/2006/relationships/tags" Target="../tags/tag55.xml"/><Relationship Id="rId5" Type="http://schemas.openxmlformats.org/officeDocument/2006/relationships/slideLayout" Target="../slideLayouts/slideLayout36.xml"/><Relationship Id="rId15" Type="http://schemas.openxmlformats.org/officeDocument/2006/relationships/tags" Target="../tags/tag46.xml"/><Relationship Id="rId23" Type="http://schemas.openxmlformats.org/officeDocument/2006/relationships/tags" Target="../tags/tag54.xml"/><Relationship Id="rId28" Type="http://schemas.openxmlformats.org/officeDocument/2006/relationships/image" Target="../media/image5.jpeg"/><Relationship Id="rId10" Type="http://schemas.openxmlformats.org/officeDocument/2006/relationships/tags" Target="../tags/tag41.xml"/><Relationship Id="rId19" Type="http://schemas.openxmlformats.org/officeDocument/2006/relationships/tags" Target="../tags/tag50.xml"/><Relationship Id="rId4" Type="http://schemas.openxmlformats.org/officeDocument/2006/relationships/slideLayout" Target="../slideLayouts/slideLayout35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tags" Target="../tags/tag53.xml"/><Relationship Id="rId27" Type="http://schemas.openxmlformats.org/officeDocument/2006/relationships/image" Target="../media/image4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4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oleObject" Target="../embeddings/oleObject6.bin"/><Relationship Id="rId5" Type="http://schemas.openxmlformats.org/officeDocument/2006/relationships/tags" Target="../tags/tag59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18" Type="http://schemas.openxmlformats.org/officeDocument/2006/relationships/tags" Target="../tags/tag71.xml"/><Relationship Id="rId26" Type="http://schemas.openxmlformats.org/officeDocument/2006/relationships/image" Target="../media/image5.jpeg"/><Relationship Id="rId3" Type="http://schemas.openxmlformats.org/officeDocument/2006/relationships/slideLayout" Target="../slideLayouts/slideLayout44.xml"/><Relationship Id="rId21" Type="http://schemas.openxmlformats.org/officeDocument/2006/relationships/tags" Target="../tags/tag74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tags" Target="../tags/tag70.xml"/><Relationship Id="rId25" Type="http://schemas.openxmlformats.org/officeDocument/2006/relationships/image" Target="../media/image4.emf"/><Relationship Id="rId2" Type="http://schemas.openxmlformats.org/officeDocument/2006/relationships/slideLayout" Target="../slideLayouts/slideLayout43.xml"/><Relationship Id="rId16" Type="http://schemas.openxmlformats.org/officeDocument/2006/relationships/tags" Target="../tags/tag69.xml"/><Relationship Id="rId20" Type="http://schemas.openxmlformats.org/officeDocument/2006/relationships/tags" Target="../tags/tag73.xml"/><Relationship Id="rId1" Type="http://schemas.openxmlformats.org/officeDocument/2006/relationships/slideLayout" Target="../slideLayouts/slideLayout42.xml"/><Relationship Id="rId6" Type="http://schemas.openxmlformats.org/officeDocument/2006/relationships/theme" Target="../theme/theme5.xml"/><Relationship Id="rId11" Type="http://schemas.openxmlformats.org/officeDocument/2006/relationships/tags" Target="../tags/tag64.xml"/><Relationship Id="rId24" Type="http://schemas.openxmlformats.org/officeDocument/2006/relationships/oleObject" Target="../embeddings/oleObject7.bin"/><Relationship Id="rId5" Type="http://schemas.openxmlformats.org/officeDocument/2006/relationships/slideLayout" Target="../slideLayouts/slideLayout46.xml"/><Relationship Id="rId15" Type="http://schemas.openxmlformats.org/officeDocument/2006/relationships/tags" Target="../tags/tag68.xml"/><Relationship Id="rId23" Type="http://schemas.openxmlformats.org/officeDocument/2006/relationships/tags" Target="../tags/tag76.xml"/><Relationship Id="rId10" Type="http://schemas.openxmlformats.org/officeDocument/2006/relationships/tags" Target="../tags/tag63.xml"/><Relationship Id="rId19" Type="http://schemas.openxmlformats.org/officeDocument/2006/relationships/tags" Target="../tags/tag72.xml"/><Relationship Id="rId4" Type="http://schemas.openxmlformats.org/officeDocument/2006/relationships/slideLayout" Target="../slideLayouts/slideLayout45.xml"/><Relationship Id="rId9" Type="http://schemas.openxmlformats.org/officeDocument/2006/relationships/tags" Target="../tags/tag62.xml"/><Relationship Id="rId14" Type="http://schemas.openxmlformats.org/officeDocument/2006/relationships/tags" Target="../tags/tag67.xml"/><Relationship Id="rId22" Type="http://schemas.openxmlformats.org/officeDocument/2006/relationships/tags" Target="../tags/tag7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26" Type="http://schemas.openxmlformats.org/officeDocument/2006/relationships/slideLayout" Target="../slideLayouts/slideLayout72.xml"/><Relationship Id="rId3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67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slideLayout" Target="../slideLayouts/slideLayout71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29" Type="http://schemas.openxmlformats.org/officeDocument/2006/relationships/oleObject" Target="../embeddings/oleObject9.bin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24" Type="http://schemas.openxmlformats.org/officeDocument/2006/relationships/slideLayout" Target="../slideLayouts/slideLayout70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slideLayout" Target="../slideLayouts/slideLayout69.xml"/><Relationship Id="rId28" Type="http://schemas.openxmlformats.org/officeDocument/2006/relationships/tags" Target="../tags/tag79.xml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slideLayout" Target="../slideLayouts/slideLayout68.xml"/><Relationship Id="rId27" Type="http://schemas.openxmlformats.org/officeDocument/2006/relationships/theme" Target="../theme/theme6.xml"/><Relationship Id="rId30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tags" Target="../tags/tag96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theme" Target="../theme/theme7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oleObject" Target="../embeddings/oleObject10.bin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tags" Target="../tags/tag11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26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5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0" Type="http://schemas.openxmlformats.org/officeDocument/2006/relationships/slideLayout" Target="../slideLayouts/slideLayout118.xml"/><Relationship Id="rId29" Type="http://schemas.openxmlformats.org/officeDocument/2006/relationships/oleObject" Target="../embeddings/oleObject12.bin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24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23" Type="http://schemas.openxmlformats.org/officeDocument/2006/relationships/slideLayout" Target="../slideLayouts/slideLayout121.xml"/><Relationship Id="rId28" Type="http://schemas.openxmlformats.org/officeDocument/2006/relationships/tags" Target="../tags/tag114.xml"/><Relationship Id="rId10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117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Relationship Id="rId22" Type="http://schemas.openxmlformats.org/officeDocument/2006/relationships/slideLayout" Target="../slideLayouts/slideLayout120.xml"/><Relationship Id="rId27" Type="http://schemas.openxmlformats.org/officeDocument/2006/relationships/theme" Target="../theme/theme9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9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005069310"/>
              </p:ext>
            </p:extLst>
          </p:nvPr>
        </p:nvGraphicFramePr>
        <p:xfrm>
          <a:off x="2137" y="159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60" imgH="360" progId="TCLayout.ActiveDocument.1">
                  <p:embed/>
                </p:oleObj>
              </mc:Choice>
              <mc:Fallback>
                <p:oleObj name="think-cell Slide" r:id="rId27" imgW="360" imgH="360" progId="TCLayout.ActiveDocument.1">
                  <p:embed/>
                  <p:pic>
                    <p:nvPicPr>
                      <p:cNvPr id="1026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7" y="1594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9" descr="PP balk"/>
          <p:cNvPicPr>
            <a:picLocks noChangeAspect="1" noChangeArrowheads="1"/>
          </p:cNvPicPr>
          <p:nvPr/>
        </p:nvPicPr>
        <p:blipFill rotWithShape="1">
          <a:blip r:embed="rId29" cstate="print"/>
          <a:srcRect l="4447" t="50000" r="3799" b="8558"/>
          <a:stretch/>
        </p:blipFill>
        <p:spPr bwMode="auto">
          <a:xfrm>
            <a:off x="164269" y="114215"/>
            <a:ext cx="12027733" cy="28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4271" y="592053"/>
            <a:ext cx="11893090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18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4270" y="1444958"/>
            <a:ext cx="11843810" cy="4892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71984" rIns="71984" bIns="7198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</p:txBody>
      </p:sp>
      <p:sp>
        <p:nvSpPr>
          <p:cNvPr id="14336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7051" y="167389"/>
            <a:ext cx="4798484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18" tIns="45710" rIns="91418" bIns="4571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 defTabSz="914231"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143367" name="Text Box 7"/>
          <p:cNvSpPr txBox="1">
            <a:spLocks noChangeArrowheads="1"/>
          </p:cNvSpPr>
          <p:nvPr/>
        </p:nvSpPr>
        <p:spPr bwMode="auto">
          <a:xfrm>
            <a:off x="10204920" y="167389"/>
            <a:ext cx="1344084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18" tIns="45710" rIns="0" bIns="45710"/>
          <a:lstStyle/>
          <a:p>
            <a:pPr algn="r" defTabSz="914231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000" b="1">
                <a:solidFill>
                  <a:srgbClr val="FFFFFF"/>
                </a:solidFill>
              </a:rPr>
              <a:t>Slide</a:t>
            </a:r>
          </a:p>
        </p:txBody>
      </p:sp>
      <p:sp>
        <p:nvSpPr>
          <p:cNvPr id="143368" name="Text Box 8"/>
          <p:cNvSpPr txBox="1">
            <a:spLocks noChangeArrowheads="1"/>
          </p:cNvSpPr>
          <p:nvPr/>
        </p:nvSpPr>
        <p:spPr bwMode="auto">
          <a:xfrm>
            <a:off x="5490635" y="167389"/>
            <a:ext cx="1219200" cy="215900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  <a:effectLst/>
        </p:spPr>
        <p:txBody>
          <a:bodyPr wrap="none" lIns="0" tIns="46789" rIns="0" bIns="46789"/>
          <a:lstStyle/>
          <a:p>
            <a:pPr algn="ctr" defTabSz="914231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000" b="1">
                <a:solidFill>
                  <a:srgbClr val="FFFFFF"/>
                </a:solidFill>
              </a:rPr>
              <a:t>Tata Steel</a:t>
            </a:r>
          </a:p>
        </p:txBody>
      </p:sp>
    </p:spTree>
    <p:extLst>
      <p:ext uri="{BB962C8B-B14F-4D97-AF65-F5344CB8AC3E}">
        <p14:creationId xmlns:p14="http://schemas.microsoft.com/office/powerpoint/2010/main" val="331219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5pPr>
      <a:lvl6pPr marL="457093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6pPr>
      <a:lvl7pPr marL="914187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7pPr>
      <a:lvl8pPr marL="1371281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8pPr>
      <a:lvl9pPr marL="1828374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79348" indent="-179348" algn="l" rtl="0" eaLnBrk="0" fontAlgn="base" hangingPunct="0">
        <a:spcBef>
          <a:spcPts val="863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358692" indent="-179348" algn="l" rtl="0" eaLnBrk="0" fontAlgn="base" hangingPunct="0">
        <a:spcBef>
          <a:spcPts val="863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  <a:cs typeface="+mn-cs"/>
        </a:defRPr>
      </a:lvl2pPr>
      <a:lvl3pPr marL="1234788" indent="-228546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642680" indent="-228546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6922" indent="-228546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014" indent="-22854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107" indent="-22854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8201" indent="-22854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5297" indent="-22854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9141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3" algn="l" defTabSz="9141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7" algn="l" defTabSz="9141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1" algn="l" defTabSz="9141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74" algn="l" defTabSz="9141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69" algn="l" defTabSz="9141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60" algn="l" defTabSz="9141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55" algn="l" defTabSz="9141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49" algn="l" defTabSz="9141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97839823"/>
              </p:ext>
            </p:extLst>
          </p:nvPr>
        </p:nvGraphicFramePr>
        <p:xfrm>
          <a:off x="2125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1026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5" y="1595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9" descr="PP balk"/>
          <p:cNvPicPr>
            <a:picLocks noChangeAspect="1" noChangeArrowheads="1"/>
          </p:cNvPicPr>
          <p:nvPr/>
        </p:nvPicPr>
        <p:blipFill rotWithShape="1">
          <a:blip r:embed="rId30" cstate="print"/>
          <a:srcRect l="4447" t="50000" r="3799" b="8558"/>
          <a:stretch/>
        </p:blipFill>
        <p:spPr bwMode="auto">
          <a:xfrm>
            <a:off x="164268" y="114215"/>
            <a:ext cx="12027732" cy="28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4271" y="592037"/>
            <a:ext cx="11893090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22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4270" y="1444958"/>
            <a:ext cx="11843810" cy="4892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71987" rIns="71987" bIns="719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</p:txBody>
      </p:sp>
      <p:sp>
        <p:nvSpPr>
          <p:cNvPr id="14336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41124" y="167389"/>
            <a:ext cx="67098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12" rIns="91422" bIns="45712" numCol="1" anchor="t" anchorCtr="0" compatLnSpc="1">
            <a:prstTxWarp prst="textNoShape">
              <a:avLst/>
            </a:prstTxWarp>
          </a:bodyPr>
          <a:lstStyle>
            <a:lvl1pPr algn="l">
              <a:defRPr sz="813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 defTabSz="742812" fontAlgn="base">
              <a:spcBef>
                <a:spcPct val="0"/>
              </a:spcBef>
              <a:spcAft>
                <a:spcPct val="0"/>
              </a:spcAft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 defTabSz="742812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4336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7051" y="167389"/>
            <a:ext cx="4798484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2" tIns="45712" rIns="91422" bIns="45712" numCol="1" anchor="t" anchorCtr="0" compatLnSpc="1">
            <a:prstTxWarp prst="textNoShape">
              <a:avLst/>
            </a:prstTxWarp>
          </a:bodyPr>
          <a:lstStyle>
            <a:lvl1pPr algn="l">
              <a:defRPr sz="813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 defTabSz="742812"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143367" name="Text Box 7"/>
          <p:cNvSpPr txBox="1">
            <a:spLocks noChangeArrowheads="1"/>
          </p:cNvSpPr>
          <p:nvPr/>
        </p:nvSpPr>
        <p:spPr bwMode="auto">
          <a:xfrm>
            <a:off x="10204919" y="167389"/>
            <a:ext cx="1344084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4280" tIns="37141" rIns="0" bIns="37141"/>
          <a:lstStyle/>
          <a:p>
            <a:pPr algn="r" defTabSz="742812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813" b="1">
                <a:solidFill>
                  <a:srgbClr val="FFFFFF"/>
                </a:solidFill>
              </a:rPr>
              <a:t>Slide</a:t>
            </a:r>
          </a:p>
        </p:txBody>
      </p:sp>
      <p:sp>
        <p:nvSpPr>
          <p:cNvPr id="143368" name="Text Box 8"/>
          <p:cNvSpPr txBox="1">
            <a:spLocks noChangeArrowheads="1"/>
          </p:cNvSpPr>
          <p:nvPr/>
        </p:nvSpPr>
        <p:spPr bwMode="auto">
          <a:xfrm>
            <a:off x="5490635" y="167389"/>
            <a:ext cx="1219200" cy="215900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  <a:effectLst/>
        </p:spPr>
        <p:txBody>
          <a:bodyPr wrap="none" lIns="0" tIns="38018" rIns="0" bIns="38018"/>
          <a:lstStyle/>
          <a:p>
            <a:pPr algn="ctr" defTabSz="742812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813" b="1">
                <a:solidFill>
                  <a:srgbClr val="FFFFFF"/>
                </a:solidFill>
              </a:rPr>
              <a:t>Tata Steel</a:t>
            </a:r>
          </a:p>
        </p:txBody>
      </p:sp>
    </p:spTree>
    <p:extLst>
      <p:ext uri="{BB962C8B-B14F-4D97-AF65-F5344CB8AC3E}">
        <p14:creationId xmlns:p14="http://schemas.microsoft.com/office/powerpoint/2010/main" val="535902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2" r:id="rId7"/>
    <p:sldLayoutId id="2147483823" r:id="rId8"/>
    <p:sldLayoutId id="2147483824" r:id="rId9"/>
    <p:sldLayoutId id="2147483825" r:id="rId10"/>
    <p:sldLayoutId id="2147483826" r:id="rId11"/>
    <p:sldLayoutId id="2147483827" r:id="rId12"/>
    <p:sldLayoutId id="2147483828" r:id="rId13"/>
    <p:sldLayoutId id="2147483829" r:id="rId14"/>
    <p:sldLayoutId id="2147483830" r:id="rId15"/>
    <p:sldLayoutId id="2147483831" r:id="rId16"/>
    <p:sldLayoutId id="2147483832" r:id="rId17"/>
    <p:sldLayoutId id="2147483833" r:id="rId18"/>
    <p:sldLayoutId id="2147483834" r:id="rId19"/>
    <p:sldLayoutId id="2147483835" r:id="rId20"/>
    <p:sldLayoutId id="2147483836" r:id="rId21"/>
    <p:sldLayoutId id="2147483837" r:id="rId22"/>
    <p:sldLayoutId id="2147483838" r:id="rId23"/>
    <p:sldLayoutId id="2147483839" r:id="rId24"/>
    <p:sldLayoutId id="2147483841" r:id="rId25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462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788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788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788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788" b="1">
          <a:solidFill>
            <a:schemeClr val="tx2"/>
          </a:solidFill>
          <a:latin typeface="Arial" charset="0"/>
          <a:cs typeface="Arial" charset="0"/>
        </a:defRPr>
      </a:lvl5pPr>
      <a:lvl6pPr marL="371387" algn="l" rtl="0" eaLnBrk="1" fontAlgn="base" hangingPunct="1">
        <a:spcBef>
          <a:spcPct val="0"/>
        </a:spcBef>
        <a:spcAft>
          <a:spcPct val="0"/>
        </a:spcAft>
        <a:defRPr sz="1788" b="1">
          <a:solidFill>
            <a:schemeClr val="tx2"/>
          </a:solidFill>
          <a:latin typeface="Arial" charset="0"/>
          <a:cs typeface="Arial" charset="0"/>
        </a:defRPr>
      </a:lvl6pPr>
      <a:lvl7pPr marL="742777" algn="l" rtl="0" eaLnBrk="1" fontAlgn="base" hangingPunct="1">
        <a:spcBef>
          <a:spcPct val="0"/>
        </a:spcBef>
        <a:spcAft>
          <a:spcPct val="0"/>
        </a:spcAft>
        <a:defRPr sz="1788" b="1">
          <a:solidFill>
            <a:schemeClr val="tx2"/>
          </a:solidFill>
          <a:latin typeface="Arial" charset="0"/>
          <a:cs typeface="Arial" charset="0"/>
        </a:defRPr>
      </a:lvl7pPr>
      <a:lvl8pPr marL="1114165" algn="l" rtl="0" eaLnBrk="1" fontAlgn="base" hangingPunct="1">
        <a:spcBef>
          <a:spcPct val="0"/>
        </a:spcBef>
        <a:spcAft>
          <a:spcPct val="0"/>
        </a:spcAft>
        <a:defRPr sz="1788" b="1">
          <a:solidFill>
            <a:schemeClr val="tx2"/>
          </a:solidFill>
          <a:latin typeface="Arial" charset="0"/>
          <a:cs typeface="Arial" charset="0"/>
        </a:defRPr>
      </a:lvl8pPr>
      <a:lvl9pPr marL="1485552" algn="l" rtl="0" eaLnBrk="1" fontAlgn="base" hangingPunct="1">
        <a:spcBef>
          <a:spcPct val="0"/>
        </a:spcBef>
        <a:spcAft>
          <a:spcPct val="0"/>
        </a:spcAft>
        <a:defRPr sz="178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45719" indent="-145719" algn="l" rtl="0" eaLnBrk="0" fontAlgn="base" hangingPunct="0">
        <a:spcBef>
          <a:spcPts val="701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219">
          <a:solidFill>
            <a:schemeClr val="tx1"/>
          </a:solidFill>
          <a:latin typeface="+mn-lt"/>
          <a:ea typeface="+mn-ea"/>
          <a:cs typeface="+mn-cs"/>
        </a:defRPr>
      </a:lvl1pPr>
      <a:lvl2pPr marL="291437" indent="-145719" algn="l" rtl="0" eaLnBrk="0" fontAlgn="base" hangingPunct="0">
        <a:spcBef>
          <a:spcPts val="701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219">
          <a:solidFill>
            <a:schemeClr val="tx1"/>
          </a:solidFill>
          <a:latin typeface="+mn-lt"/>
          <a:cs typeface="+mn-cs"/>
        </a:defRPr>
      </a:lvl2pPr>
      <a:lvl3pPr marL="1003264" indent="-185694" algn="l" rtl="0" eaLnBrk="0" fontAlgn="base" hangingPunct="0">
        <a:spcBef>
          <a:spcPct val="20000"/>
        </a:spcBef>
        <a:spcAft>
          <a:spcPct val="0"/>
        </a:spcAft>
        <a:buChar char="•"/>
        <a:defRPr sz="1625">
          <a:solidFill>
            <a:schemeClr val="tx1"/>
          </a:solidFill>
          <a:latin typeface="+mn-lt"/>
          <a:cs typeface="+mn-cs"/>
        </a:defRPr>
      </a:lvl3pPr>
      <a:lvl4pPr marL="1334677" indent="-185694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  <a:cs typeface="+mn-cs"/>
        </a:defRPr>
      </a:lvl4pPr>
      <a:lvl5pPr marL="1671247" indent="-185694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5pPr>
      <a:lvl6pPr marL="2042634" indent="-185694" algn="l" rtl="0" eaLnBrk="1" fontAlgn="base" hangingPunct="1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14022" indent="-185694" algn="l" rtl="0" eaLnBrk="1" fontAlgn="base" hangingPunct="1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85410" indent="-185694" algn="l" rtl="0" eaLnBrk="1" fontAlgn="base" hangingPunct="1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56800" indent="-185694" algn="l" rtl="0" eaLnBrk="1" fontAlgn="base" hangingPunct="1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4277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387" algn="l" defTabSz="74277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777" algn="l" defTabSz="74277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165" algn="l" defTabSz="74277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552" algn="l" defTabSz="74277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6940" algn="l" defTabSz="74277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328" algn="l" defTabSz="74277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9716" algn="l" defTabSz="74277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105" algn="l" defTabSz="74277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EBAED19-7E7E-4F71-AF43-A91A2249FA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946463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73" imgH="473" progId="TCLayout.ActiveDocument.1">
                  <p:embed/>
                </p:oleObj>
              </mc:Choice>
              <mc:Fallback>
                <p:oleObj name="think-cell Slide" r:id="rId13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EBAED19-7E7E-4F71-AF43-A91A2249FA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Slide Number Placeholder 5"/>
          <p:cNvSpPr txBox="1">
            <a:spLocks/>
          </p:cNvSpPr>
          <p:nvPr userDrawn="1"/>
        </p:nvSpPr>
        <p:spPr>
          <a:xfrm>
            <a:off x="11592000" y="6557981"/>
            <a:ext cx="396000" cy="150041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defPPr>
              <a:defRPr lang="en-US"/>
            </a:defPPr>
            <a:lvl1pPr algn="r">
              <a:defRPr sz="11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3150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FE6805-C07D-4954-8016-252DDCB0363C}" type="slidenum">
              <a:rPr kumimoji="0" lang="en-IN" sz="975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3150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975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B8887C9-EBFA-433A-99F8-0A948720A501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522992" y="6537602"/>
            <a:ext cx="1232910" cy="234127"/>
          </a:xfrm>
          <a:prstGeom prst="rect">
            <a:avLst/>
          </a:prstGeom>
        </p:spPr>
      </p:pic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835B3F6-F96D-4F0F-B819-470EAF6BF6A4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10491537" y="6539139"/>
          <a:ext cx="1260000" cy="21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0000">
                  <a:extLst>
                    <a:ext uri="{9D8B030D-6E8A-4147-A177-3AD203B41FA5}">
                      <a16:colId xmlns:a16="http://schemas.microsoft.com/office/drawing/2014/main" val="1684967075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endParaRPr lang="en-IN" sz="600" i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5607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9611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  <p:sldLayoutId id="2147483851" r:id="rId8"/>
    <p:sldLayoutId id="2147483852" r:id="rId9"/>
    <p:sldLayoutId id="2147483853" r:id="rId10"/>
  </p:sldLayoutIdLst>
  <p:hf hdr="0" ftr="0" dt="0"/>
  <p:txStyles>
    <p:titleStyle>
      <a:lvl1pPr algn="ctr" defTabSz="259954" rtl="0" eaLnBrk="1" latinLnBrk="0" hangingPunct="1">
        <a:spcBef>
          <a:spcPct val="0"/>
        </a:spcBef>
        <a:buNone/>
        <a:defRPr sz="12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7483" indent="-97483" algn="l" defTabSz="259954" rtl="0" eaLnBrk="1" latinLnBrk="0" hangingPunct="1">
        <a:spcBef>
          <a:spcPct val="20000"/>
        </a:spcBef>
        <a:buFont typeface="Arial" pitchFamily="34" charset="0"/>
        <a:buChar char="•"/>
        <a:defRPr sz="915" kern="1200">
          <a:solidFill>
            <a:schemeClr val="tx1"/>
          </a:solidFill>
          <a:latin typeface="+mn-lt"/>
          <a:ea typeface="+mn-ea"/>
          <a:cs typeface="+mn-cs"/>
        </a:defRPr>
      </a:lvl1pPr>
      <a:lvl2pPr marL="211213" indent="-81235" algn="l" defTabSz="259954" rtl="0" eaLnBrk="1" latinLnBrk="0" hangingPunct="1">
        <a:spcBef>
          <a:spcPct val="20000"/>
        </a:spcBef>
        <a:buFont typeface="Arial" pitchFamily="34" charset="0"/>
        <a:buChar char="–"/>
        <a:defRPr sz="798" kern="1200">
          <a:solidFill>
            <a:schemeClr val="tx1"/>
          </a:solidFill>
          <a:latin typeface="+mn-lt"/>
          <a:ea typeface="+mn-ea"/>
          <a:cs typeface="+mn-cs"/>
        </a:defRPr>
      </a:lvl2pPr>
      <a:lvl3pPr marL="324942" indent="-64989" algn="l" defTabSz="259954" rtl="0" eaLnBrk="1" latinLnBrk="0" hangingPunct="1">
        <a:spcBef>
          <a:spcPct val="20000"/>
        </a:spcBef>
        <a:buFont typeface="Arial" pitchFamily="34" charset="0"/>
        <a:buChar char="•"/>
        <a:defRPr sz="680" kern="1200">
          <a:solidFill>
            <a:schemeClr val="tx1"/>
          </a:solidFill>
          <a:latin typeface="+mn-lt"/>
          <a:ea typeface="+mn-ea"/>
          <a:cs typeface="+mn-cs"/>
        </a:defRPr>
      </a:lvl3pPr>
      <a:lvl4pPr marL="454918" indent="-64989" algn="l" defTabSz="259954" rtl="0" eaLnBrk="1" latinLnBrk="0" hangingPunct="1">
        <a:spcBef>
          <a:spcPct val="20000"/>
        </a:spcBef>
        <a:buFont typeface="Arial" pitchFamily="34" charset="0"/>
        <a:buChar char="–"/>
        <a:defRPr sz="564" kern="1200">
          <a:solidFill>
            <a:schemeClr val="tx1"/>
          </a:solidFill>
          <a:latin typeface="+mn-lt"/>
          <a:ea typeface="+mn-ea"/>
          <a:cs typeface="+mn-cs"/>
        </a:defRPr>
      </a:lvl4pPr>
      <a:lvl5pPr marL="584895" indent="-64989" algn="l" defTabSz="259954" rtl="0" eaLnBrk="1" latinLnBrk="0" hangingPunct="1">
        <a:spcBef>
          <a:spcPct val="20000"/>
        </a:spcBef>
        <a:buFont typeface="Arial" pitchFamily="34" charset="0"/>
        <a:buChar char="»"/>
        <a:defRPr sz="564" kern="1200">
          <a:solidFill>
            <a:schemeClr val="tx1"/>
          </a:solidFill>
          <a:latin typeface="+mn-lt"/>
          <a:ea typeface="+mn-ea"/>
          <a:cs typeface="+mn-cs"/>
        </a:defRPr>
      </a:lvl5pPr>
      <a:lvl6pPr marL="714872" indent="-64989" algn="l" defTabSz="259954" rtl="0" eaLnBrk="1" latinLnBrk="0" hangingPunct="1">
        <a:spcBef>
          <a:spcPct val="20000"/>
        </a:spcBef>
        <a:buFont typeface="Arial" pitchFamily="34" charset="0"/>
        <a:buChar char="•"/>
        <a:defRPr sz="564" kern="1200">
          <a:solidFill>
            <a:schemeClr val="tx1"/>
          </a:solidFill>
          <a:latin typeface="+mn-lt"/>
          <a:ea typeface="+mn-ea"/>
          <a:cs typeface="+mn-cs"/>
        </a:defRPr>
      </a:lvl6pPr>
      <a:lvl7pPr marL="844848" indent="-64989" algn="l" defTabSz="259954" rtl="0" eaLnBrk="1" latinLnBrk="0" hangingPunct="1">
        <a:spcBef>
          <a:spcPct val="20000"/>
        </a:spcBef>
        <a:buFont typeface="Arial" pitchFamily="34" charset="0"/>
        <a:buChar char="•"/>
        <a:defRPr sz="564" kern="1200">
          <a:solidFill>
            <a:schemeClr val="tx1"/>
          </a:solidFill>
          <a:latin typeface="+mn-lt"/>
          <a:ea typeface="+mn-ea"/>
          <a:cs typeface="+mn-cs"/>
        </a:defRPr>
      </a:lvl7pPr>
      <a:lvl8pPr marL="974825" indent="-64989" algn="l" defTabSz="259954" rtl="0" eaLnBrk="1" latinLnBrk="0" hangingPunct="1">
        <a:spcBef>
          <a:spcPct val="20000"/>
        </a:spcBef>
        <a:buFont typeface="Arial" pitchFamily="34" charset="0"/>
        <a:buChar char="•"/>
        <a:defRPr sz="564" kern="1200">
          <a:solidFill>
            <a:schemeClr val="tx1"/>
          </a:solidFill>
          <a:latin typeface="+mn-lt"/>
          <a:ea typeface="+mn-ea"/>
          <a:cs typeface="+mn-cs"/>
        </a:defRPr>
      </a:lvl8pPr>
      <a:lvl9pPr marL="1104803" indent="-64989" algn="l" defTabSz="259954" rtl="0" eaLnBrk="1" latinLnBrk="0" hangingPunct="1">
        <a:spcBef>
          <a:spcPct val="20000"/>
        </a:spcBef>
        <a:buFont typeface="Arial" pitchFamily="34" charset="0"/>
        <a:buChar char="•"/>
        <a:defRPr sz="56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59954" rtl="0" eaLnBrk="1" latinLnBrk="0" hangingPunct="1">
        <a:defRPr sz="516" kern="1200">
          <a:solidFill>
            <a:schemeClr val="tx1"/>
          </a:solidFill>
          <a:latin typeface="+mn-lt"/>
          <a:ea typeface="+mn-ea"/>
          <a:cs typeface="+mn-cs"/>
        </a:defRPr>
      </a:lvl1pPr>
      <a:lvl2pPr marL="129976" algn="l" defTabSz="259954" rtl="0" eaLnBrk="1" latinLnBrk="0" hangingPunct="1">
        <a:defRPr sz="516" kern="1200">
          <a:solidFill>
            <a:schemeClr val="tx1"/>
          </a:solidFill>
          <a:latin typeface="+mn-lt"/>
          <a:ea typeface="+mn-ea"/>
          <a:cs typeface="+mn-cs"/>
        </a:defRPr>
      </a:lvl2pPr>
      <a:lvl3pPr marL="259954" algn="l" defTabSz="259954" rtl="0" eaLnBrk="1" latinLnBrk="0" hangingPunct="1">
        <a:defRPr sz="516" kern="1200">
          <a:solidFill>
            <a:schemeClr val="tx1"/>
          </a:solidFill>
          <a:latin typeface="+mn-lt"/>
          <a:ea typeface="+mn-ea"/>
          <a:cs typeface="+mn-cs"/>
        </a:defRPr>
      </a:lvl3pPr>
      <a:lvl4pPr marL="389930" algn="l" defTabSz="259954" rtl="0" eaLnBrk="1" latinLnBrk="0" hangingPunct="1">
        <a:defRPr sz="516" kern="1200">
          <a:solidFill>
            <a:schemeClr val="tx1"/>
          </a:solidFill>
          <a:latin typeface="+mn-lt"/>
          <a:ea typeface="+mn-ea"/>
          <a:cs typeface="+mn-cs"/>
        </a:defRPr>
      </a:lvl4pPr>
      <a:lvl5pPr marL="519907" algn="l" defTabSz="259954" rtl="0" eaLnBrk="1" latinLnBrk="0" hangingPunct="1">
        <a:defRPr sz="516" kern="1200">
          <a:solidFill>
            <a:schemeClr val="tx1"/>
          </a:solidFill>
          <a:latin typeface="+mn-lt"/>
          <a:ea typeface="+mn-ea"/>
          <a:cs typeface="+mn-cs"/>
        </a:defRPr>
      </a:lvl5pPr>
      <a:lvl6pPr marL="649884" algn="l" defTabSz="259954" rtl="0" eaLnBrk="1" latinLnBrk="0" hangingPunct="1">
        <a:defRPr sz="516" kern="1200">
          <a:solidFill>
            <a:schemeClr val="tx1"/>
          </a:solidFill>
          <a:latin typeface="+mn-lt"/>
          <a:ea typeface="+mn-ea"/>
          <a:cs typeface="+mn-cs"/>
        </a:defRPr>
      </a:lvl6pPr>
      <a:lvl7pPr marL="779860" algn="l" defTabSz="259954" rtl="0" eaLnBrk="1" latinLnBrk="0" hangingPunct="1">
        <a:defRPr sz="516" kern="1200">
          <a:solidFill>
            <a:schemeClr val="tx1"/>
          </a:solidFill>
          <a:latin typeface="+mn-lt"/>
          <a:ea typeface="+mn-ea"/>
          <a:cs typeface="+mn-cs"/>
        </a:defRPr>
      </a:lvl7pPr>
      <a:lvl8pPr marL="909838" algn="l" defTabSz="259954" rtl="0" eaLnBrk="1" latinLnBrk="0" hangingPunct="1">
        <a:defRPr sz="516" kern="1200">
          <a:solidFill>
            <a:schemeClr val="tx1"/>
          </a:solidFill>
          <a:latin typeface="+mn-lt"/>
          <a:ea typeface="+mn-ea"/>
          <a:cs typeface="+mn-cs"/>
        </a:defRPr>
      </a:lvl8pPr>
      <a:lvl9pPr marL="1039814" algn="l" defTabSz="259954" rtl="0" eaLnBrk="1" latinLnBrk="0" hangingPunct="1">
        <a:defRPr sz="5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C1BBD0E-E00E-67AD-05E5-E6E07B6D3A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46942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1BBD0E-E00E-67AD-05E5-E6E07B6D3A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3DE7CBD-B238-BDF4-18DC-4319ABE29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77FEDB-3A34-6F82-6FB4-0163410097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6858DD-8AF9-23DF-F5DB-ACFED3028DF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1706AB-E665-4790-AE78-000EE9F7AB7D}" type="datetimeFigureOut">
              <a:rPr lang="en-US" smtClean="0"/>
              <a:t>5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36B60D-7B6D-5591-95FC-39FA4A7F72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49BD0C-7B42-3269-21E3-7A55EB320A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645A2-AFD9-4540-9B11-8B5F1D16FC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095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958" r:id="rId2"/>
    <p:sldLayoutId id="2147483959" r:id="rId3"/>
    <p:sldLayoutId id="2147483960" r:id="rId4"/>
    <p:sldLayoutId id="2147483961" r:id="rId5"/>
    <p:sldLayoutId id="2147483962" r:id="rId6"/>
    <p:sldLayoutId id="2147483963" r:id="rId7"/>
    <p:sldLayoutId id="2147483964" r:id="rId8"/>
    <p:sldLayoutId id="2147483965" r:id="rId9"/>
    <p:sldLayoutId id="2147483966" r:id="rId10"/>
    <p:sldLayoutId id="214748396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9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610965054"/>
              </p:ext>
            </p:extLst>
          </p:nvPr>
        </p:nvGraphicFramePr>
        <p:xfrm>
          <a:off x="2124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60" imgH="360" progId="TCLayout.ActiveDocument.1">
                  <p:embed/>
                </p:oleObj>
              </mc:Choice>
              <mc:Fallback>
                <p:oleObj name="think-cell Slide" r:id="rId27" imgW="360" imgH="360" progId="TCLayout.ActiveDocument.1">
                  <p:embed/>
                  <p:pic>
                    <p:nvPicPr>
                      <p:cNvPr id="1026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4" y="159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9" descr="PP balk"/>
          <p:cNvPicPr>
            <a:picLocks noChangeAspect="1" noChangeArrowheads="1"/>
          </p:cNvPicPr>
          <p:nvPr/>
        </p:nvPicPr>
        <p:blipFill rotWithShape="1">
          <a:blip r:embed="rId29" cstate="print"/>
          <a:srcRect l="4447" t="50000" r="3799" b="8558"/>
          <a:stretch/>
        </p:blipFill>
        <p:spPr bwMode="auto">
          <a:xfrm>
            <a:off x="164268" y="114214"/>
            <a:ext cx="12027732" cy="28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4271" y="592035"/>
            <a:ext cx="11893090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22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4270" y="1444958"/>
            <a:ext cx="11843810" cy="4892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71987" rIns="71987" bIns="719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</p:txBody>
      </p:sp>
      <p:sp>
        <p:nvSpPr>
          <p:cNvPr id="14336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41124" y="167389"/>
            <a:ext cx="67098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12" rIns="91422" bIns="45712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 defTabSz="914230" fontAlgn="base">
              <a:spcBef>
                <a:spcPct val="0"/>
              </a:spcBef>
              <a:spcAft>
                <a:spcPct val="0"/>
              </a:spcAft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 defTabSz="91423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4336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7051" y="167389"/>
            <a:ext cx="4798484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2" tIns="45712" rIns="91422" bIns="45712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 defTabSz="914230"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143367" name="Text Box 7"/>
          <p:cNvSpPr txBox="1">
            <a:spLocks noChangeArrowheads="1"/>
          </p:cNvSpPr>
          <p:nvPr/>
        </p:nvSpPr>
        <p:spPr bwMode="auto">
          <a:xfrm>
            <a:off x="10204919" y="167389"/>
            <a:ext cx="1344084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2" tIns="45712" rIns="0" bIns="45712"/>
          <a:lstStyle/>
          <a:p>
            <a:pPr algn="r" defTabSz="91423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000" b="1">
                <a:solidFill>
                  <a:srgbClr val="FFFFFF"/>
                </a:solidFill>
              </a:rPr>
              <a:t>Slide</a:t>
            </a:r>
          </a:p>
        </p:txBody>
      </p:sp>
      <p:sp>
        <p:nvSpPr>
          <p:cNvPr id="143368" name="Text Box 8"/>
          <p:cNvSpPr txBox="1">
            <a:spLocks noChangeArrowheads="1"/>
          </p:cNvSpPr>
          <p:nvPr/>
        </p:nvSpPr>
        <p:spPr bwMode="auto">
          <a:xfrm>
            <a:off x="5490635" y="167389"/>
            <a:ext cx="1219200" cy="215900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  <a:effectLst/>
        </p:spPr>
        <p:txBody>
          <a:bodyPr wrap="none" lIns="0" tIns="46791" rIns="0" bIns="46791"/>
          <a:lstStyle/>
          <a:p>
            <a:pPr algn="ctr" defTabSz="91423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000" b="1">
                <a:solidFill>
                  <a:srgbClr val="FFFFFF"/>
                </a:solidFill>
              </a:rPr>
              <a:t>Tata Steel</a:t>
            </a:r>
          </a:p>
        </p:txBody>
      </p:sp>
    </p:spTree>
    <p:extLst>
      <p:ext uri="{BB962C8B-B14F-4D97-AF65-F5344CB8AC3E}">
        <p14:creationId xmlns:p14="http://schemas.microsoft.com/office/powerpoint/2010/main" val="1937177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867" r:id="rId11"/>
    <p:sldLayoutId id="2147483868" r:id="rId12"/>
    <p:sldLayoutId id="2147483869" r:id="rId13"/>
    <p:sldLayoutId id="2147483870" r:id="rId14"/>
    <p:sldLayoutId id="2147483871" r:id="rId15"/>
    <p:sldLayoutId id="2147483872" r:id="rId16"/>
    <p:sldLayoutId id="2147483873" r:id="rId17"/>
    <p:sldLayoutId id="2147483874" r:id="rId18"/>
    <p:sldLayoutId id="2147483875" r:id="rId19"/>
    <p:sldLayoutId id="2147483876" r:id="rId20"/>
    <p:sldLayoutId id="2147483877" r:id="rId21"/>
    <p:sldLayoutId id="2147483878" r:id="rId22"/>
    <p:sldLayoutId id="2147483879" r:id="rId23"/>
    <p:sldLayoutId id="2147483880" r:id="rId24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799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5pPr>
      <a:lvl6pPr marL="457092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6pPr>
      <a:lvl7pPr marL="914187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7pPr>
      <a:lvl8pPr marL="137128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8pPr>
      <a:lvl9pPr marL="1828372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79347" indent="-179347" algn="l" rtl="0" eaLnBrk="0" fontAlgn="base" hangingPunct="0">
        <a:spcBef>
          <a:spcPts val="863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358692" indent="-179347" algn="l" rtl="0" eaLnBrk="0" fontAlgn="base" hangingPunct="0">
        <a:spcBef>
          <a:spcPts val="863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  <a:cs typeface="+mn-cs"/>
        </a:defRPr>
      </a:lvl2pPr>
      <a:lvl3pPr marL="1234786" indent="-228546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642679" indent="-228546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6919" indent="-228546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011" indent="-22854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104" indent="-22854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8197" indent="-22854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5292" indent="-22854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91418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92" algn="l" defTabSz="91418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87" algn="l" defTabSz="91418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0" algn="l" defTabSz="91418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372" algn="l" defTabSz="91418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465" algn="l" defTabSz="91418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557" algn="l" defTabSz="91418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651" algn="l" defTabSz="91418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745" algn="l" defTabSz="91418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9" hidden="1">
            <a:extLst>
              <a:ext uri="{FF2B5EF4-FFF2-40B4-BE49-F238E27FC236}">
                <a16:creationId xmlns:a16="http://schemas.microsoft.com/office/drawing/2014/main" id="{0ABC74A8-86B4-4EF8-B8FD-928EAD9F5F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7936915"/>
              </p:ext>
            </p:ext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26" name="Object 9" hidden="1">
                        <a:extLst>
                          <a:ext uri="{FF2B5EF4-FFF2-40B4-BE49-F238E27FC236}">
                            <a16:creationId xmlns:a16="http://schemas.microsoft.com/office/drawing/2014/main" id="{0ABC74A8-86B4-4EF8-B8FD-928EAD9F5F5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9" descr="PP balk">
            <a:extLst>
              <a:ext uri="{FF2B5EF4-FFF2-40B4-BE49-F238E27FC236}">
                <a16:creationId xmlns:a16="http://schemas.microsoft.com/office/drawing/2014/main" id="{2E3B3426-1992-4A0D-A8C7-E11B449D93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6" t="50000" r="3799" b="8559"/>
          <a:stretch>
            <a:fillRect/>
          </a:stretch>
        </p:blipFill>
        <p:spPr bwMode="auto">
          <a:xfrm>
            <a:off x="163513" y="114300"/>
            <a:ext cx="12028487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>
            <a:extLst>
              <a:ext uri="{FF2B5EF4-FFF2-40B4-BE49-F238E27FC236}">
                <a16:creationId xmlns:a16="http://schemas.microsoft.com/office/drawing/2014/main" id="{51BBED82-D404-480B-8857-22A73481ED9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63513" y="592138"/>
            <a:ext cx="11893550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22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Text</a:t>
            </a:r>
          </a:p>
        </p:txBody>
      </p:sp>
      <p:sp>
        <p:nvSpPr>
          <p:cNvPr id="1029" name="Rectangle 3">
            <a:extLst>
              <a:ext uri="{FF2B5EF4-FFF2-40B4-BE49-F238E27FC236}">
                <a16:creationId xmlns:a16="http://schemas.microsoft.com/office/drawing/2014/main" id="{CD267A44-8336-41A9-9BDB-12A4559365F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63513" y="1444625"/>
            <a:ext cx="11844337" cy="489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1987" rIns="71987" bIns="719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Text</a:t>
            </a:r>
          </a:p>
          <a:p>
            <a:pPr lvl="1"/>
            <a:r>
              <a:rPr lang="en-GB" altLang="en-US"/>
              <a:t>Text</a:t>
            </a:r>
          </a:p>
        </p:txBody>
      </p:sp>
      <p:sp>
        <p:nvSpPr>
          <p:cNvPr id="143365" name="Rectangle 5">
            <a:extLst>
              <a:ext uri="{FF2B5EF4-FFF2-40B4-BE49-F238E27FC236}">
                <a16:creationId xmlns:a16="http://schemas.microsoft.com/office/drawing/2014/main" id="{F1ABF531-4A56-4BF8-84F3-3F28AAE8FC83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41138" y="166688"/>
            <a:ext cx="67151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12" rIns="91422" bIns="45712" numCol="1" anchor="t" anchorCtr="0" compatLnSpc="1">
            <a:prstTxWarp prst="textNoShape">
              <a:avLst/>
            </a:prstTxWarp>
          </a:bodyPr>
          <a:lstStyle>
            <a:lvl1pPr algn="l" defTabSz="914271" eaLnBrk="1" hangingPunct="1">
              <a:defRPr sz="1000" b="1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08F6019F-DBAA-42E9-A457-E2351BD7E75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1031" name="Text Box 7">
            <a:extLst>
              <a:ext uri="{FF2B5EF4-FFF2-40B4-BE49-F238E27FC236}">
                <a16:creationId xmlns:a16="http://schemas.microsoft.com/office/drawing/2014/main" id="{FD4D2B8C-8E5D-4B5E-B496-009FF8E29E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04450" y="166688"/>
            <a:ext cx="134461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2" rIns="0" bIns="45712"/>
          <a:lstStyle>
            <a:lvl1pPr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r>
              <a:rPr lang="en-GB" altLang="en-US" sz="1000" b="1">
                <a:solidFill>
                  <a:srgbClr val="FFFFFF"/>
                </a:solidFill>
              </a:rPr>
              <a:t>Slide</a:t>
            </a:r>
          </a:p>
        </p:txBody>
      </p:sp>
      <p:sp>
        <p:nvSpPr>
          <p:cNvPr id="1032" name="Text Box 8">
            <a:extLst>
              <a:ext uri="{FF2B5EF4-FFF2-40B4-BE49-F238E27FC236}">
                <a16:creationId xmlns:a16="http://schemas.microsoft.com/office/drawing/2014/main" id="{F4C1213D-41CF-468C-8DBC-31929C5D27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91163" y="166688"/>
            <a:ext cx="12192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0" tIns="46791" rIns="0" bIns="46791"/>
          <a:lstStyle>
            <a:lvl1pPr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en-GB" altLang="en-US" sz="1000" b="1">
                <a:solidFill>
                  <a:srgbClr val="FFFFFF"/>
                </a:solidFill>
              </a:rPr>
              <a:t>Tata Steel</a:t>
            </a:r>
          </a:p>
        </p:txBody>
      </p:sp>
    </p:spTree>
    <p:extLst>
      <p:ext uri="{BB962C8B-B14F-4D97-AF65-F5344CB8AC3E}">
        <p14:creationId xmlns:p14="http://schemas.microsoft.com/office/powerpoint/2010/main" val="4236129799"/>
      </p:ext>
    </p:extLst>
  </p:cSld>
  <p:clrMap bg1="lt1" tx1="dk1" bg2="lt2" tx2="dk2" accent1="accent1" accent2="accent2" accent3="accent3" accent4="accent4" accent5="accent5" accent6="accent6" hlink="hlink" folHlink="folHlink"/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5pPr>
      <a:lvl6pPr marL="457113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6pPr>
      <a:lvl7pPr marL="914228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7pPr>
      <a:lvl8pPr marL="1371342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8pPr>
      <a:lvl9pPr marL="1828454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77800" indent="-177800" algn="l" rtl="0" eaLnBrk="0" fontAlgn="base" hangingPunct="0">
        <a:spcBef>
          <a:spcPts val="863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357188" indent="-177800" algn="l" rtl="0" eaLnBrk="0" fontAlgn="base" hangingPunct="0">
        <a:spcBef>
          <a:spcPts val="863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500">
          <a:solidFill>
            <a:schemeClr val="tx1"/>
          </a:solidFill>
          <a:latin typeface="+mn-lt"/>
          <a:cs typeface="+mn-cs"/>
        </a:defRPr>
      </a:lvl2pPr>
      <a:lvl3pPr marL="1233488" indent="-227013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641475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125" indent="-22855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238" indent="-22855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8352" indent="-22855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5468" indent="-22855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914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8" algn="l" defTabSz="914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2" algn="l" defTabSz="914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4" algn="l" defTabSz="914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69" algn="l" defTabSz="914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1" algn="l" defTabSz="914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96" algn="l" defTabSz="914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0" algn="l" defTabSz="914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A1D4630-9458-4327-9E27-33D7C0144E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A1D4630-9458-4327-9E27-33D7C0144E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29533156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Myriad Pro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Myriad Pro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Myriad Pro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Myriad Pro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Myriad Pro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Myriad Pro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326621981"/>
              </p:ext>
            </p:extLst>
          </p:nvPr>
        </p:nvGraphicFramePr>
        <p:xfrm>
          <a:off x="2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2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x-none" sz="170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96886" y="1980948"/>
            <a:ext cx="180017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lang="en-US" sz="600">
                <a:solidFill>
                  <a:srgbClr val="808080"/>
                </a:solidFill>
                <a:latin typeface="Arial"/>
              </a:rPr>
              <a:t>Last Modified 21/02/2017 19:50 India Standard Time</a:t>
            </a:r>
            <a:endParaRPr sz="160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974340" y="419892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600">
                <a:solidFill>
                  <a:srgbClr val="808080"/>
                </a:solidFill>
                <a:latin typeface="Arial"/>
              </a:rPr>
              <a:t>Printed</a:t>
            </a:r>
            <a:endParaRPr sz="160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6"/>
            <a:ext cx="10831083" cy="323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7" y="77305"/>
            <a:ext cx="5514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x-none" sz="900" cap="all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5" y="566137"/>
            <a:ext cx="11725484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170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85" y="6421881"/>
            <a:ext cx="11725484" cy="344207"/>
            <a:chOff x="119063" y="6294029"/>
            <a:chExt cx="8618537" cy="337354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94029"/>
              <a:ext cx="8618537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 lang="x-none"/>
              </a:pPr>
              <a:r>
                <a:rPr sz="90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495641"/>
              <a:ext cx="7200000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51573" indent="-651573" defTabSz="956998" fontAlgn="base">
                <a:spcBef>
                  <a:spcPct val="0"/>
                </a:spcBef>
                <a:spcAft>
                  <a:spcPct val="0"/>
                </a:spcAft>
                <a:tabLst>
                  <a:tab pos="654966" algn="l"/>
                </a:tabLst>
              </a:pPr>
              <a:endParaRPr lang="x-none" sz="900">
                <a:solidFill>
                  <a:srgbClr val="808080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9" y="1991016"/>
            <a:ext cx="5853024" cy="115416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8" y="1260624"/>
            <a:ext cx="5801189" cy="540994"/>
            <a:chOff x="915" y="696"/>
            <a:chExt cx="2686" cy="334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96"/>
              <a:ext cx="2686" cy="3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700" b="1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7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359663" y="291557"/>
            <a:ext cx="527837" cy="166199"/>
            <a:chOff x="8352802" y="285750"/>
            <a:chExt cx="387973" cy="16289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52802" y="285750"/>
              <a:ext cx="387973" cy="16289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6998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90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52802" y="285750"/>
              <a:ext cx="0" cy="162892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52802" y="448642"/>
              <a:ext cx="38797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0" y="6455860"/>
            <a:ext cx="62201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36" tIns="48868" rIns="97736" bIns="4886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x-none" sz="1700">
              <a:solidFill>
                <a:srgbClr val="000000"/>
              </a:solidFill>
            </a:endParaRPr>
          </a:p>
        </p:txBody>
      </p: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10995481" y="51833"/>
            <a:ext cx="894151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6998" fontAlgn="base">
              <a:spcBef>
                <a:spcPct val="0"/>
              </a:spcBef>
              <a:spcAft>
                <a:spcPct val="0"/>
              </a:spcAft>
            </a:pPr>
            <a:endParaRPr lang="x-none" sz="900">
              <a:solidFill>
                <a:srgbClr val="808080"/>
              </a:solidFill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8447" y="285078"/>
            <a:ext cx="903411" cy="1029365"/>
            <a:chOff x="7835905" y="279400"/>
            <a:chExt cx="664031" cy="1008873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170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170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1700">
                <a:solidFill>
                  <a:srgbClr val="000000"/>
                </a:solidFill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1700">
                <a:solidFill>
                  <a:srgbClr val="000000"/>
                </a:solidFill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6998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6998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6998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6998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678" y="285076"/>
            <a:ext cx="1322410" cy="757248"/>
            <a:chOff x="7540629" y="279400"/>
            <a:chExt cx="972006" cy="742173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170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170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170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6998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6998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6998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77732" y="255920"/>
            <a:ext cx="994122" cy="1333054"/>
            <a:chOff x="7769225" y="250825"/>
            <a:chExt cx="730706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6998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6998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6998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6998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6998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</p:grpSp>
      <p:pic>
        <p:nvPicPr>
          <p:cNvPr id="124435" name="Picture 531" descr="No automatic alt text available."/>
          <p:cNvPicPr>
            <a:picLocks noChangeAspect="1" noChangeArrowheads="1"/>
          </p:cNvPicPr>
          <p:nvPr userDrawn="1"/>
        </p:nvPicPr>
        <p:blipFill rotWithShape="1"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08" t="17413" r="13433" b="17737"/>
          <a:stretch/>
        </p:blipFill>
        <p:spPr bwMode="auto">
          <a:xfrm>
            <a:off x="11057991" y="51835"/>
            <a:ext cx="969692" cy="497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0375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744" r:id="rId7"/>
  </p:sldLayoutIdLst>
  <p:hf hdr="0" ftr="0" dt="0"/>
  <p:txStyles>
    <p:titleStyle>
      <a:lvl1pPr algn="l" defTabSz="956998" rtl="0" eaLnBrk="1" fontAlgn="base" hangingPunct="1">
        <a:spcBef>
          <a:spcPct val="0"/>
        </a:spcBef>
        <a:spcAft>
          <a:spcPct val="0"/>
        </a:spcAft>
        <a:tabLst/>
        <a:defRPr lang="x-none" sz="21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56998" rtl="0" eaLnBrk="1" fontAlgn="base" hangingPunct="1">
        <a:spcBef>
          <a:spcPct val="0"/>
        </a:spcBef>
        <a:spcAft>
          <a:spcPct val="0"/>
        </a:spcAft>
        <a:defRPr lang="x-none" sz="2000" b="1">
          <a:solidFill>
            <a:schemeClr val="tx2"/>
          </a:solidFill>
          <a:latin typeface="Arial" charset="0"/>
        </a:defRPr>
      </a:lvl2pPr>
      <a:lvl3pPr algn="l" defTabSz="956998" rtl="0" eaLnBrk="1" fontAlgn="base" hangingPunct="1">
        <a:spcBef>
          <a:spcPct val="0"/>
        </a:spcBef>
        <a:spcAft>
          <a:spcPct val="0"/>
        </a:spcAft>
        <a:defRPr lang="x-none" sz="2000" b="1">
          <a:solidFill>
            <a:schemeClr val="tx2"/>
          </a:solidFill>
          <a:latin typeface="Arial" charset="0"/>
        </a:defRPr>
      </a:lvl3pPr>
      <a:lvl4pPr algn="l" defTabSz="956998" rtl="0" eaLnBrk="1" fontAlgn="base" hangingPunct="1">
        <a:spcBef>
          <a:spcPct val="0"/>
        </a:spcBef>
        <a:spcAft>
          <a:spcPct val="0"/>
        </a:spcAft>
        <a:defRPr lang="x-none" sz="2000" b="1">
          <a:solidFill>
            <a:schemeClr val="tx2"/>
          </a:solidFill>
          <a:latin typeface="Arial" charset="0"/>
        </a:defRPr>
      </a:lvl4pPr>
      <a:lvl5pPr algn="l" defTabSz="956998" rtl="0" eaLnBrk="1" fontAlgn="base" hangingPunct="1">
        <a:spcBef>
          <a:spcPct val="0"/>
        </a:spcBef>
        <a:spcAft>
          <a:spcPct val="0"/>
        </a:spcAft>
        <a:defRPr lang="x-none" sz="2000" b="1">
          <a:solidFill>
            <a:schemeClr val="tx2"/>
          </a:solidFill>
          <a:latin typeface="Arial" charset="0"/>
        </a:defRPr>
      </a:lvl5pPr>
      <a:lvl6pPr marL="488680" algn="l" defTabSz="956998" rtl="0" eaLnBrk="1" fontAlgn="base" hangingPunct="1">
        <a:spcBef>
          <a:spcPct val="0"/>
        </a:spcBef>
        <a:spcAft>
          <a:spcPct val="0"/>
        </a:spcAft>
        <a:defRPr lang="x-none" sz="2000" b="1">
          <a:solidFill>
            <a:schemeClr val="tx2"/>
          </a:solidFill>
          <a:latin typeface="Arial" charset="0"/>
        </a:defRPr>
      </a:lvl6pPr>
      <a:lvl7pPr marL="977359" algn="l" defTabSz="956998" rtl="0" eaLnBrk="1" fontAlgn="base" hangingPunct="1">
        <a:spcBef>
          <a:spcPct val="0"/>
        </a:spcBef>
        <a:spcAft>
          <a:spcPct val="0"/>
        </a:spcAft>
        <a:defRPr lang="x-none" sz="2000" b="1">
          <a:solidFill>
            <a:schemeClr val="tx2"/>
          </a:solidFill>
          <a:latin typeface="Arial" charset="0"/>
        </a:defRPr>
      </a:lvl7pPr>
      <a:lvl8pPr marL="1466038" algn="l" defTabSz="956998" rtl="0" eaLnBrk="1" fontAlgn="base" hangingPunct="1">
        <a:spcBef>
          <a:spcPct val="0"/>
        </a:spcBef>
        <a:spcAft>
          <a:spcPct val="0"/>
        </a:spcAft>
        <a:defRPr lang="x-none" sz="2000" b="1">
          <a:solidFill>
            <a:schemeClr val="tx2"/>
          </a:solidFill>
          <a:latin typeface="Arial" charset="0"/>
        </a:defRPr>
      </a:lvl8pPr>
      <a:lvl9pPr marL="1954718" algn="l" defTabSz="956998" rtl="0" eaLnBrk="1" fontAlgn="base" hangingPunct="1">
        <a:spcBef>
          <a:spcPct val="0"/>
        </a:spcBef>
        <a:spcAft>
          <a:spcPct val="0"/>
        </a:spcAft>
        <a:defRPr lang="x-none"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5699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500" baseline="0">
          <a:solidFill>
            <a:schemeClr val="tx1"/>
          </a:solidFill>
          <a:latin typeface="+mn-lt"/>
          <a:ea typeface="+mn-ea"/>
          <a:cs typeface="+mn-cs"/>
        </a:defRPr>
      </a:lvl1pPr>
      <a:lvl2pPr marL="207010" indent="-205314" algn="l" defTabSz="95699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500" baseline="0">
          <a:solidFill>
            <a:schemeClr val="tx1"/>
          </a:solidFill>
          <a:latin typeface="+mn-lt"/>
        </a:defRPr>
      </a:lvl2pPr>
      <a:lvl3pPr marL="488680" indent="-279974" algn="l" defTabSz="95699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500" baseline="0">
          <a:solidFill>
            <a:schemeClr val="tx1"/>
          </a:solidFill>
          <a:latin typeface="+mn-lt"/>
        </a:defRPr>
      </a:lvl3pPr>
      <a:lvl4pPr marL="656664" indent="-166287" algn="l" defTabSz="95699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500" baseline="0">
          <a:solidFill>
            <a:schemeClr val="tx1"/>
          </a:solidFill>
          <a:latin typeface="+mn-lt"/>
        </a:defRPr>
      </a:lvl4pPr>
      <a:lvl5pPr marL="801434" indent="-139138" algn="l" defTabSz="95699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500" baseline="0">
          <a:solidFill>
            <a:schemeClr val="tx1"/>
          </a:solidFill>
          <a:latin typeface="+mn-lt"/>
        </a:defRPr>
      </a:lvl5pPr>
      <a:lvl6pPr marL="801434" indent="-139138" algn="l" defTabSz="95699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700" baseline="0">
          <a:solidFill>
            <a:schemeClr val="tx1"/>
          </a:solidFill>
          <a:latin typeface="+mn-lt"/>
        </a:defRPr>
      </a:lvl6pPr>
      <a:lvl7pPr marL="801434" indent="-139138" algn="l" defTabSz="95699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700" baseline="0">
          <a:solidFill>
            <a:schemeClr val="tx1"/>
          </a:solidFill>
          <a:latin typeface="+mn-lt"/>
        </a:defRPr>
      </a:lvl7pPr>
      <a:lvl8pPr marL="801434" indent="-139138" algn="l" defTabSz="95699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700" baseline="0">
          <a:solidFill>
            <a:schemeClr val="tx1"/>
          </a:solidFill>
          <a:latin typeface="+mn-lt"/>
        </a:defRPr>
      </a:lvl8pPr>
      <a:lvl9pPr marL="801434" indent="-139138" algn="l" defTabSz="95699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7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77359" rtl="0" eaLnBrk="1" latinLnBrk="0" hangingPunct="1">
        <a:defRPr lang="x-none"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8680" algn="l" defTabSz="977359" rtl="0" eaLnBrk="1" latinLnBrk="0" hangingPunct="1">
        <a:defRPr lang="x-none"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7359" algn="l" defTabSz="977359" rtl="0" eaLnBrk="1" latinLnBrk="0" hangingPunct="1">
        <a:defRPr lang="x-none"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6038" algn="l" defTabSz="977359" rtl="0" eaLnBrk="1" latinLnBrk="0" hangingPunct="1">
        <a:defRPr lang="x-none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4718" algn="l" defTabSz="977359" rtl="0" eaLnBrk="1" latinLnBrk="0" hangingPunct="1">
        <a:defRPr lang="x-none"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3397" algn="l" defTabSz="977359" rtl="0" eaLnBrk="1" latinLnBrk="0" hangingPunct="1">
        <a:defRPr lang="x-none"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2077" algn="l" defTabSz="977359" rtl="0" eaLnBrk="1" latinLnBrk="0" hangingPunct="1">
        <a:defRPr lang="x-none"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757" algn="l" defTabSz="977359" rtl="0" eaLnBrk="1" latinLnBrk="0" hangingPunct="1">
        <a:defRPr lang="x-none"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9437" algn="l" defTabSz="977359" rtl="0" eaLnBrk="1" latinLnBrk="0" hangingPunct="1">
        <a:defRPr lang="x-none"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3" userDrawn="1">
          <p15:clr>
            <a:srgbClr val="F26B43"/>
          </p15:clr>
        </p15:guide>
        <p15:guide id="2" pos="6852" userDrawn="1">
          <p15:clr>
            <a:srgbClr val="F26B43"/>
          </p15:clr>
        </p15:guide>
        <p15:guide id="3" pos="96" userDrawn="1">
          <p15:clr>
            <a:srgbClr val="F26B43"/>
          </p15:clr>
        </p15:guide>
        <p15:guide id="4" orient="horz" pos="59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406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198452007"/>
              </p:ext>
            </p:extLst>
          </p:nvPr>
        </p:nvGraphicFramePr>
        <p:xfrm>
          <a:off x="1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1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x-none" sz="170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96885" y="1980947"/>
            <a:ext cx="180017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lang="en-US" sz="600">
                <a:solidFill>
                  <a:srgbClr val="808080"/>
                </a:solidFill>
                <a:latin typeface="Arial"/>
              </a:rPr>
              <a:t>Last Modified 21/02/2017 19:50 India Standard Time</a:t>
            </a:r>
            <a:endParaRPr sz="160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974340" y="419892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600">
                <a:solidFill>
                  <a:srgbClr val="808080"/>
                </a:solidFill>
                <a:latin typeface="Arial"/>
              </a:rPr>
              <a:t>Printed</a:t>
            </a:r>
            <a:endParaRPr sz="160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6" y="234865"/>
            <a:ext cx="10831083" cy="323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514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x-none" sz="900" cap="all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5" y="566136"/>
            <a:ext cx="11725484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170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85" y="6421871"/>
            <a:ext cx="11725484" cy="344207"/>
            <a:chOff x="119063" y="6294028"/>
            <a:chExt cx="8618537" cy="33735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94028"/>
              <a:ext cx="8618537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 lang="x-none"/>
              </a:pPr>
              <a:r>
                <a:rPr sz="90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495641"/>
              <a:ext cx="7200000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51601" indent="-651601" defTabSz="957040" fontAlgn="base">
                <a:spcBef>
                  <a:spcPct val="0"/>
                </a:spcBef>
                <a:spcAft>
                  <a:spcPct val="0"/>
                </a:spcAft>
                <a:tabLst>
                  <a:tab pos="654995" algn="l"/>
                </a:tabLst>
              </a:pPr>
              <a:endParaRPr lang="x-none" sz="900">
                <a:solidFill>
                  <a:srgbClr val="808080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6"/>
            <a:ext cx="5853024" cy="115416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60624"/>
            <a:ext cx="5801189" cy="540994"/>
            <a:chOff x="915" y="696"/>
            <a:chExt cx="2686" cy="334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96"/>
              <a:ext cx="2686" cy="3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700" b="1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7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359653" y="291555"/>
            <a:ext cx="527837" cy="166199"/>
            <a:chOff x="8352802" y="285750"/>
            <a:chExt cx="387973" cy="16289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52802" y="285750"/>
              <a:ext cx="387973" cy="1628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704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90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52802" y="285750"/>
              <a:ext cx="0" cy="16289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52802" y="448641"/>
              <a:ext cx="38797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0" y="6455859"/>
            <a:ext cx="62201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x-none" sz="1700">
              <a:solidFill>
                <a:srgbClr val="000000"/>
              </a:solidFill>
            </a:endParaRPr>
          </a:p>
        </p:txBody>
      </p: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10995480" y="51833"/>
            <a:ext cx="894151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7040" fontAlgn="base">
              <a:spcBef>
                <a:spcPct val="0"/>
              </a:spcBef>
              <a:spcAft>
                <a:spcPct val="0"/>
              </a:spcAft>
            </a:pPr>
            <a:endParaRPr lang="x-none" sz="900">
              <a:solidFill>
                <a:srgbClr val="808080"/>
              </a:solidFill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8448" y="285077"/>
            <a:ext cx="903411" cy="1029365"/>
            <a:chOff x="7835905" y="279400"/>
            <a:chExt cx="664031" cy="1008873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x-none" sz="170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x-none" sz="170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x-none" sz="1700">
                <a:solidFill>
                  <a:srgbClr val="000000"/>
                </a:solidFill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x-none" sz="1700">
                <a:solidFill>
                  <a:srgbClr val="000000"/>
                </a:solidFill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704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704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704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704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680" y="285075"/>
            <a:ext cx="1322410" cy="757248"/>
            <a:chOff x="7540629" y="279400"/>
            <a:chExt cx="972006" cy="742173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x-none" sz="170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x-none" sz="170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x-none" sz="170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704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704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704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77735" y="255920"/>
            <a:ext cx="994122" cy="1333054"/>
            <a:chOff x="7769225" y="250825"/>
            <a:chExt cx="730706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704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704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704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704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704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</p:grpSp>
      <p:pic>
        <p:nvPicPr>
          <p:cNvPr id="124435" name="Picture 531" descr="No automatic alt text available."/>
          <p:cNvPicPr>
            <a:picLocks noChangeAspect="1" noChangeArrowheads="1"/>
          </p:cNvPicPr>
          <p:nvPr userDrawn="1"/>
        </p:nvPicPr>
        <p:blipFill rotWithShape="1"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08" t="17413" r="13433" b="17737"/>
          <a:stretch/>
        </p:blipFill>
        <p:spPr bwMode="auto">
          <a:xfrm>
            <a:off x="11057990" y="51834"/>
            <a:ext cx="969692" cy="497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7037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45" r:id="rId6"/>
    <p:sldLayoutId id="2147483746" r:id="rId7"/>
  </p:sldLayoutIdLst>
  <p:hf hdr="0" ftr="0" dt="0"/>
  <p:txStyles>
    <p:titleStyle>
      <a:lvl1pPr algn="l" defTabSz="957040" rtl="0" eaLnBrk="1" fontAlgn="base" hangingPunct="1">
        <a:spcBef>
          <a:spcPct val="0"/>
        </a:spcBef>
        <a:spcAft>
          <a:spcPct val="0"/>
        </a:spcAft>
        <a:tabLst/>
        <a:defRPr lang="x-none" sz="21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57040" rtl="0" eaLnBrk="1" fontAlgn="base" hangingPunct="1">
        <a:spcBef>
          <a:spcPct val="0"/>
        </a:spcBef>
        <a:spcAft>
          <a:spcPct val="0"/>
        </a:spcAft>
        <a:defRPr lang="x-none" sz="2000" b="1">
          <a:solidFill>
            <a:schemeClr val="tx2"/>
          </a:solidFill>
          <a:latin typeface="Arial" charset="0"/>
        </a:defRPr>
      </a:lvl2pPr>
      <a:lvl3pPr algn="l" defTabSz="957040" rtl="0" eaLnBrk="1" fontAlgn="base" hangingPunct="1">
        <a:spcBef>
          <a:spcPct val="0"/>
        </a:spcBef>
        <a:spcAft>
          <a:spcPct val="0"/>
        </a:spcAft>
        <a:defRPr lang="x-none" sz="2000" b="1">
          <a:solidFill>
            <a:schemeClr val="tx2"/>
          </a:solidFill>
          <a:latin typeface="Arial" charset="0"/>
        </a:defRPr>
      </a:lvl3pPr>
      <a:lvl4pPr algn="l" defTabSz="957040" rtl="0" eaLnBrk="1" fontAlgn="base" hangingPunct="1">
        <a:spcBef>
          <a:spcPct val="0"/>
        </a:spcBef>
        <a:spcAft>
          <a:spcPct val="0"/>
        </a:spcAft>
        <a:defRPr lang="x-none" sz="2000" b="1">
          <a:solidFill>
            <a:schemeClr val="tx2"/>
          </a:solidFill>
          <a:latin typeface="Arial" charset="0"/>
        </a:defRPr>
      </a:lvl4pPr>
      <a:lvl5pPr algn="l" defTabSz="957040" rtl="0" eaLnBrk="1" fontAlgn="base" hangingPunct="1">
        <a:spcBef>
          <a:spcPct val="0"/>
        </a:spcBef>
        <a:spcAft>
          <a:spcPct val="0"/>
        </a:spcAft>
        <a:defRPr lang="x-none" sz="2000" b="1">
          <a:solidFill>
            <a:schemeClr val="tx2"/>
          </a:solidFill>
          <a:latin typeface="Arial" charset="0"/>
        </a:defRPr>
      </a:lvl5pPr>
      <a:lvl6pPr marL="488701" algn="l" defTabSz="957040" rtl="0" eaLnBrk="1" fontAlgn="base" hangingPunct="1">
        <a:spcBef>
          <a:spcPct val="0"/>
        </a:spcBef>
        <a:spcAft>
          <a:spcPct val="0"/>
        </a:spcAft>
        <a:defRPr lang="x-none" sz="2000" b="1">
          <a:solidFill>
            <a:schemeClr val="tx2"/>
          </a:solidFill>
          <a:latin typeface="Arial" charset="0"/>
        </a:defRPr>
      </a:lvl6pPr>
      <a:lvl7pPr marL="977402" algn="l" defTabSz="957040" rtl="0" eaLnBrk="1" fontAlgn="base" hangingPunct="1">
        <a:spcBef>
          <a:spcPct val="0"/>
        </a:spcBef>
        <a:spcAft>
          <a:spcPct val="0"/>
        </a:spcAft>
        <a:defRPr lang="x-none" sz="2000" b="1">
          <a:solidFill>
            <a:schemeClr val="tx2"/>
          </a:solidFill>
          <a:latin typeface="Arial" charset="0"/>
        </a:defRPr>
      </a:lvl7pPr>
      <a:lvl8pPr marL="1466103" algn="l" defTabSz="957040" rtl="0" eaLnBrk="1" fontAlgn="base" hangingPunct="1">
        <a:spcBef>
          <a:spcPct val="0"/>
        </a:spcBef>
        <a:spcAft>
          <a:spcPct val="0"/>
        </a:spcAft>
        <a:defRPr lang="x-none" sz="2000" b="1">
          <a:solidFill>
            <a:schemeClr val="tx2"/>
          </a:solidFill>
          <a:latin typeface="Arial" charset="0"/>
        </a:defRPr>
      </a:lvl8pPr>
      <a:lvl9pPr marL="1954804" algn="l" defTabSz="957040" rtl="0" eaLnBrk="1" fontAlgn="base" hangingPunct="1">
        <a:spcBef>
          <a:spcPct val="0"/>
        </a:spcBef>
        <a:spcAft>
          <a:spcPct val="0"/>
        </a:spcAft>
        <a:defRPr lang="x-none"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500" baseline="0">
          <a:solidFill>
            <a:schemeClr val="tx1"/>
          </a:solidFill>
          <a:latin typeface="+mn-lt"/>
          <a:ea typeface="+mn-ea"/>
          <a:cs typeface="+mn-cs"/>
        </a:defRPr>
      </a:lvl1pPr>
      <a:lvl2pPr marL="207019" indent="-205323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500" baseline="0">
          <a:solidFill>
            <a:schemeClr val="tx1"/>
          </a:solidFill>
          <a:latin typeface="+mn-lt"/>
        </a:defRPr>
      </a:lvl2pPr>
      <a:lvl3pPr marL="488701" indent="-279986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500" baseline="0">
          <a:solidFill>
            <a:schemeClr val="tx1"/>
          </a:solidFill>
          <a:latin typeface="+mn-lt"/>
        </a:defRPr>
      </a:lvl3pPr>
      <a:lvl4pPr marL="656693" indent="-16629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500" baseline="0">
          <a:solidFill>
            <a:schemeClr val="tx1"/>
          </a:solidFill>
          <a:latin typeface="+mn-lt"/>
        </a:defRPr>
      </a:lvl4pPr>
      <a:lvl5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500" baseline="0">
          <a:solidFill>
            <a:schemeClr val="tx1"/>
          </a:solidFill>
          <a:latin typeface="+mn-lt"/>
        </a:defRPr>
      </a:lvl5pPr>
      <a:lvl6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700" baseline="0">
          <a:solidFill>
            <a:schemeClr val="tx1"/>
          </a:solidFill>
          <a:latin typeface="+mn-lt"/>
        </a:defRPr>
      </a:lvl6pPr>
      <a:lvl7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700" baseline="0">
          <a:solidFill>
            <a:schemeClr val="tx1"/>
          </a:solidFill>
          <a:latin typeface="+mn-lt"/>
        </a:defRPr>
      </a:lvl7pPr>
      <a:lvl8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700" baseline="0">
          <a:solidFill>
            <a:schemeClr val="tx1"/>
          </a:solidFill>
          <a:latin typeface="+mn-lt"/>
        </a:defRPr>
      </a:lvl8pPr>
      <a:lvl9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7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77402" rtl="0" eaLnBrk="1" latinLnBrk="0" hangingPunct="1">
        <a:defRPr lang="x-none"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8701" algn="l" defTabSz="977402" rtl="0" eaLnBrk="1" latinLnBrk="0" hangingPunct="1">
        <a:defRPr lang="x-none"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7402" algn="l" defTabSz="977402" rtl="0" eaLnBrk="1" latinLnBrk="0" hangingPunct="1">
        <a:defRPr lang="x-none"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6103" algn="l" defTabSz="977402" rtl="0" eaLnBrk="1" latinLnBrk="0" hangingPunct="1">
        <a:defRPr lang="x-none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4804" algn="l" defTabSz="977402" rtl="0" eaLnBrk="1" latinLnBrk="0" hangingPunct="1">
        <a:defRPr lang="x-none"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3505" algn="l" defTabSz="977402" rtl="0" eaLnBrk="1" latinLnBrk="0" hangingPunct="1">
        <a:defRPr lang="x-none"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2206" algn="l" defTabSz="977402" rtl="0" eaLnBrk="1" latinLnBrk="0" hangingPunct="1">
        <a:defRPr lang="x-none"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908" algn="l" defTabSz="977402" rtl="0" eaLnBrk="1" latinLnBrk="0" hangingPunct="1">
        <a:defRPr lang="x-none"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9609" algn="l" defTabSz="977402" rtl="0" eaLnBrk="1" latinLnBrk="0" hangingPunct="1">
        <a:defRPr lang="x-none"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3" userDrawn="1">
          <p15:clr>
            <a:srgbClr val="F26B43"/>
          </p15:clr>
        </p15:guide>
        <p15:guide id="2" pos="6852" userDrawn="1">
          <p15:clr>
            <a:srgbClr val="F26B43"/>
          </p15:clr>
        </p15:guide>
        <p15:guide id="3" pos="96" userDrawn="1">
          <p15:clr>
            <a:srgbClr val="F26B43"/>
          </p15:clr>
        </p15:guide>
        <p15:guide id="4" orient="horz" pos="59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4067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9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88539087"/>
              </p:ext>
            </p:extLst>
          </p:nvPr>
        </p:nvGraphicFramePr>
        <p:xfrm>
          <a:off x="2158" y="16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26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8" y="16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9" descr="PP balk"/>
          <p:cNvPicPr>
            <a:picLocks noChangeAspect="1" noChangeArrowheads="1"/>
          </p:cNvPicPr>
          <p:nvPr/>
        </p:nvPicPr>
        <p:blipFill rotWithShape="1">
          <a:blip r:embed="rId8" cstate="print"/>
          <a:srcRect l="4447" t="56332" r="3799" b="8558"/>
          <a:stretch/>
        </p:blipFill>
        <p:spPr bwMode="auto">
          <a:xfrm>
            <a:off x="132144" y="28"/>
            <a:ext cx="12027730" cy="3650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4276" y="592065"/>
            <a:ext cx="11893090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5631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4271" y="1444958"/>
            <a:ext cx="11843810" cy="4892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75300" rIns="75300" bIns="753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</p:txBody>
      </p:sp>
      <p:sp>
        <p:nvSpPr>
          <p:cNvPr id="143367" name="Text Box 7"/>
          <p:cNvSpPr txBox="1">
            <a:spLocks noChangeArrowheads="1"/>
          </p:cNvSpPr>
          <p:nvPr/>
        </p:nvSpPr>
        <p:spPr bwMode="auto">
          <a:xfrm>
            <a:off x="10512503" y="89011"/>
            <a:ext cx="1344084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631" tIns="47820" rIns="0" bIns="47820"/>
          <a:lstStyle/>
          <a:p>
            <a:pPr algn="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100" b="1">
                <a:solidFill>
                  <a:srgbClr val="FFFFFF"/>
                </a:solidFill>
              </a:rPr>
              <a:t>Slide </a:t>
            </a:r>
            <a:fld id="{DAE5CDB2-AA14-45F3-8122-875B907485CE}" type="slidenum">
              <a:rPr lang="en-GB" sz="1100" b="1" smtClean="0">
                <a:solidFill>
                  <a:srgbClr val="FFFFFF"/>
                </a:solidFill>
              </a:rPr>
              <a:pPr algn="r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GB" sz="1100" b="1">
              <a:solidFill>
                <a:srgbClr val="FFFFFF"/>
              </a:solidFill>
            </a:endParaRPr>
          </a:p>
        </p:txBody>
      </p:sp>
      <p:sp>
        <p:nvSpPr>
          <p:cNvPr id="143368" name="Text Box 8"/>
          <p:cNvSpPr txBox="1">
            <a:spLocks noChangeArrowheads="1"/>
          </p:cNvSpPr>
          <p:nvPr/>
        </p:nvSpPr>
        <p:spPr bwMode="auto">
          <a:xfrm>
            <a:off x="5458499" y="89011"/>
            <a:ext cx="1219201" cy="215900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  <a:effectLst/>
        </p:spPr>
        <p:txBody>
          <a:bodyPr wrap="none" lIns="0" tIns="48945" rIns="0" bIns="48945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100" b="1">
                <a:solidFill>
                  <a:srgbClr val="FFFFFF"/>
                </a:solidFill>
              </a:rPr>
              <a:t>Tata Steel</a:t>
            </a:r>
          </a:p>
        </p:txBody>
      </p:sp>
    </p:spTree>
    <p:extLst>
      <p:ext uri="{BB962C8B-B14F-4D97-AF65-F5344CB8AC3E}">
        <p14:creationId xmlns:p14="http://schemas.microsoft.com/office/powerpoint/2010/main" val="38696755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10" r:id="rId3"/>
  </p:sldLayoutIdLst>
  <p:transition>
    <p:fade/>
  </p:transition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  <a:cs typeface="Arial" charset="0"/>
        </a:defRPr>
      </a:lvl5pPr>
      <a:lvl6pPr marL="478156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  <a:cs typeface="Arial" charset="0"/>
        </a:defRPr>
      </a:lvl6pPr>
      <a:lvl7pPr marL="956315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  <a:cs typeface="Arial" charset="0"/>
        </a:defRPr>
      </a:lvl7pPr>
      <a:lvl8pPr marL="1434470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  <a:cs typeface="Arial" charset="0"/>
        </a:defRPr>
      </a:lvl8pPr>
      <a:lvl9pPr marL="1912633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87613" indent="-187613" algn="l" rtl="0" eaLnBrk="1" fontAlgn="base" hangingPunct="1">
        <a:spcBef>
          <a:spcPts val="904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375221" indent="-187613" algn="l" rtl="0" eaLnBrk="1" fontAlgn="base" hangingPunct="1">
        <a:spcBef>
          <a:spcPts val="904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  <a:cs typeface="+mn-cs"/>
        </a:defRPr>
      </a:lvl2pPr>
      <a:lvl3pPr marL="1291691" indent="-239079" algn="l" rtl="0" eaLnBrk="1" fontAlgn="base" hangingPunct="1">
        <a:spcBef>
          <a:spcPct val="2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  <a:cs typeface="+mn-cs"/>
        </a:defRPr>
      </a:lvl3pPr>
      <a:lvl4pPr marL="1718381" indent="-239079" algn="l" rtl="0" eaLnBrk="1" fontAlgn="base" hangingPunct="1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  <a:cs typeface="+mn-cs"/>
        </a:defRPr>
      </a:lvl4pPr>
      <a:lvl5pPr marL="2151701" indent="-239079" algn="l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  <a:cs typeface="+mn-cs"/>
        </a:defRPr>
      </a:lvl5pPr>
      <a:lvl6pPr marL="2629867" indent="-239079" algn="l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  <a:cs typeface="+mn-cs"/>
        </a:defRPr>
      </a:lvl6pPr>
      <a:lvl7pPr marL="3108028" indent="-239079" algn="l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  <a:cs typeface="+mn-cs"/>
        </a:defRPr>
      </a:lvl7pPr>
      <a:lvl8pPr marL="3586185" indent="-239079" algn="l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  <a:cs typeface="+mn-cs"/>
        </a:defRPr>
      </a:lvl8pPr>
      <a:lvl9pPr marL="4064347" indent="-239079" algn="l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9563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78156" algn="l" defTabSz="9563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56315" algn="l" defTabSz="9563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4470" algn="l" defTabSz="9563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912633" algn="l" defTabSz="9563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90790" algn="l" defTabSz="9563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868949" algn="l" defTabSz="9563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47107" algn="l" defTabSz="9563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25267" algn="l" defTabSz="9563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52002980"/>
              </p:ext>
            </p:extLst>
          </p:nvPr>
        </p:nvGraphicFramePr>
        <p:xfrm>
          <a:off x="1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1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x-none" sz="170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96885" y="1980947"/>
            <a:ext cx="180017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lang="en-US" sz="600">
                <a:solidFill>
                  <a:srgbClr val="808080"/>
                </a:solidFill>
                <a:latin typeface="Arial"/>
              </a:rPr>
              <a:t>Last Modified 21/02/2017 19:50 India Standard Time</a:t>
            </a:r>
            <a:endParaRPr sz="160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974340" y="419892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600">
                <a:solidFill>
                  <a:srgbClr val="808080"/>
                </a:solidFill>
                <a:latin typeface="Arial"/>
              </a:rPr>
              <a:t>Printed</a:t>
            </a:r>
            <a:endParaRPr sz="160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6" y="234865"/>
            <a:ext cx="10831083" cy="323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514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x-none" sz="900" cap="all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5" y="566136"/>
            <a:ext cx="11725484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170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85" y="6421871"/>
            <a:ext cx="11725484" cy="344207"/>
            <a:chOff x="119063" y="6294028"/>
            <a:chExt cx="8618537" cy="33735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94028"/>
              <a:ext cx="8618537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 lang="x-none"/>
              </a:pPr>
              <a:r>
                <a:rPr sz="90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495641"/>
              <a:ext cx="7200000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51601" indent="-651601" defTabSz="957040" fontAlgn="base">
                <a:spcBef>
                  <a:spcPct val="0"/>
                </a:spcBef>
                <a:spcAft>
                  <a:spcPct val="0"/>
                </a:spcAft>
                <a:tabLst>
                  <a:tab pos="654995" algn="l"/>
                </a:tabLst>
              </a:pPr>
              <a:endParaRPr lang="x-none" sz="900">
                <a:solidFill>
                  <a:srgbClr val="808080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6"/>
            <a:ext cx="5853024" cy="115416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60624"/>
            <a:ext cx="5801189" cy="540994"/>
            <a:chOff x="915" y="696"/>
            <a:chExt cx="2686" cy="334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96"/>
              <a:ext cx="2686" cy="3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700" b="1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7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359653" y="291555"/>
            <a:ext cx="527837" cy="166199"/>
            <a:chOff x="8352802" y="285750"/>
            <a:chExt cx="387973" cy="16289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52802" y="285750"/>
              <a:ext cx="387973" cy="1628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704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90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52802" y="285750"/>
              <a:ext cx="0" cy="16289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52802" y="448641"/>
              <a:ext cx="38797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0" y="6455859"/>
            <a:ext cx="62201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x-none" sz="1700">
              <a:solidFill>
                <a:srgbClr val="000000"/>
              </a:solidFill>
            </a:endParaRPr>
          </a:p>
        </p:txBody>
      </p: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10995480" y="51833"/>
            <a:ext cx="894151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7040" fontAlgn="base">
              <a:spcBef>
                <a:spcPct val="0"/>
              </a:spcBef>
              <a:spcAft>
                <a:spcPct val="0"/>
              </a:spcAft>
            </a:pPr>
            <a:endParaRPr lang="x-none" sz="900">
              <a:solidFill>
                <a:srgbClr val="808080"/>
              </a:solidFill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8448" y="285077"/>
            <a:ext cx="903411" cy="1029365"/>
            <a:chOff x="7835905" y="279400"/>
            <a:chExt cx="664031" cy="1008873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x-none" sz="170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x-none" sz="170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x-none" sz="1700">
                <a:solidFill>
                  <a:srgbClr val="000000"/>
                </a:solidFill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x-none" sz="1700">
                <a:solidFill>
                  <a:srgbClr val="000000"/>
                </a:solidFill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704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704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704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704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680" y="285075"/>
            <a:ext cx="1322410" cy="757248"/>
            <a:chOff x="7540629" y="279400"/>
            <a:chExt cx="972006" cy="742173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x-none" sz="170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x-none" sz="170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x-none" sz="170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704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704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704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77735" y="255920"/>
            <a:ext cx="994122" cy="1333054"/>
            <a:chOff x="7769225" y="250825"/>
            <a:chExt cx="730706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17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704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704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704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704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410031" cy="1960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704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x-none" sz="1300">
                  <a:solidFill>
                    <a:srgbClr val="000000"/>
                  </a:solidFill>
                </a:rPr>
                <a:t>Legend</a:t>
              </a:r>
            </a:p>
          </p:txBody>
        </p:sp>
      </p:grpSp>
      <p:pic>
        <p:nvPicPr>
          <p:cNvPr id="124435" name="Picture 531" descr="No automatic alt text available."/>
          <p:cNvPicPr>
            <a:picLocks noChangeAspect="1" noChangeArrowheads="1"/>
          </p:cNvPicPr>
          <p:nvPr userDrawn="1"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08" t="17413" r="13433" b="17737"/>
          <a:stretch/>
        </p:blipFill>
        <p:spPr bwMode="auto">
          <a:xfrm>
            <a:off x="11057990" y="51834"/>
            <a:ext cx="969692" cy="497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0612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</p:sldLayoutIdLst>
  <p:hf hdr="0" ftr="0" dt="0"/>
  <p:txStyles>
    <p:titleStyle>
      <a:lvl1pPr algn="l" defTabSz="957040" rtl="0" eaLnBrk="1" fontAlgn="base" hangingPunct="1">
        <a:spcBef>
          <a:spcPct val="0"/>
        </a:spcBef>
        <a:spcAft>
          <a:spcPct val="0"/>
        </a:spcAft>
        <a:tabLst/>
        <a:defRPr lang="x-none" sz="21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57040" rtl="0" eaLnBrk="1" fontAlgn="base" hangingPunct="1">
        <a:spcBef>
          <a:spcPct val="0"/>
        </a:spcBef>
        <a:spcAft>
          <a:spcPct val="0"/>
        </a:spcAft>
        <a:defRPr lang="x-none" sz="2000" b="1">
          <a:solidFill>
            <a:schemeClr val="tx2"/>
          </a:solidFill>
          <a:latin typeface="Arial" charset="0"/>
        </a:defRPr>
      </a:lvl2pPr>
      <a:lvl3pPr algn="l" defTabSz="957040" rtl="0" eaLnBrk="1" fontAlgn="base" hangingPunct="1">
        <a:spcBef>
          <a:spcPct val="0"/>
        </a:spcBef>
        <a:spcAft>
          <a:spcPct val="0"/>
        </a:spcAft>
        <a:defRPr lang="x-none" sz="2000" b="1">
          <a:solidFill>
            <a:schemeClr val="tx2"/>
          </a:solidFill>
          <a:latin typeface="Arial" charset="0"/>
        </a:defRPr>
      </a:lvl3pPr>
      <a:lvl4pPr algn="l" defTabSz="957040" rtl="0" eaLnBrk="1" fontAlgn="base" hangingPunct="1">
        <a:spcBef>
          <a:spcPct val="0"/>
        </a:spcBef>
        <a:spcAft>
          <a:spcPct val="0"/>
        </a:spcAft>
        <a:defRPr lang="x-none" sz="2000" b="1">
          <a:solidFill>
            <a:schemeClr val="tx2"/>
          </a:solidFill>
          <a:latin typeface="Arial" charset="0"/>
        </a:defRPr>
      </a:lvl4pPr>
      <a:lvl5pPr algn="l" defTabSz="957040" rtl="0" eaLnBrk="1" fontAlgn="base" hangingPunct="1">
        <a:spcBef>
          <a:spcPct val="0"/>
        </a:spcBef>
        <a:spcAft>
          <a:spcPct val="0"/>
        </a:spcAft>
        <a:defRPr lang="x-none" sz="2000" b="1">
          <a:solidFill>
            <a:schemeClr val="tx2"/>
          </a:solidFill>
          <a:latin typeface="Arial" charset="0"/>
        </a:defRPr>
      </a:lvl5pPr>
      <a:lvl6pPr marL="488701" algn="l" defTabSz="957040" rtl="0" eaLnBrk="1" fontAlgn="base" hangingPunct="1">
        <a:spcBef>
          <a:spcPct val="0"/>
        </a:spcBef>
        <a:spcAft>
          <a:spcPct val="0"/>
        </a:spcAft>
        <a:defRPr lang="x-none" sz="2000" b="1">
          <a:solidFill>
            <a:schemeClr val="tx2"/>
          </a:solidFill>
          <a:latin typeface="Arial" charset="0"/>
        </a:defRPr>
      </a:lvl6pPr>
      <a:lvl7pPr marL="977402" algn="l" defTabSz="957040" rtl="0" eaLnBrk="1" fontAlgn="base" hangingPunct="1">
        <a:spcBef>
          <a:spcPct val="0"/>
        </a:spcBef>
        <a:spcAft>
          <a:spcPct val="0"/>
        </a:spcAft>
        <a:defRPr lang="x-none" sz="2000" b="1">
          <a:solidFill>
            <a:schemeClr val="tx2"/>
          </a:solidFill>
          <a:latin typeface="Arial" charset="0"/>
        </a:defRPr>
      </a:lvl7pPr>
      <a:lvl8pPr marL="1466103" algn="l" defTabSz="957040" rtl="0" eaLnBrk="1" fontAlgn="base" hangingPunct="1">
        <a:spcBef>
          <a:spcPct val="0"/>
        </a:spcBef>
        <a:spcAft>
          <a:spcPct val="0"/>
        </a:spcAft>
        <a:defRPr lang="x-none" sz="2000" b="1">
          <a:solidFill>
            <a:schemeClr val="tx2"/>
          </a:solidFill>
          <a:latin typeface="Arial" charset="0"/>
        </a:defRPr>
      </a:lvl8pPr>
      <a:lvl9pPr marL="1954804" algn="l" defTabSz="957040" rtl="0" eaLnBrk="1" fontAlgn="base" hangingPunct="1">
        <a:spcBef>
          <a:spcPct val="0"/>
        </a:spcBef>
        <a:spcAft>
          <a:spcPct val="0"/>
        </a:spcAft>
        <a:defRPr lang="x-none"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500" baseline="0">
          <a:solidFill>
            <a:schemeClr val="tx1"/>
          </a:solidFill>
          <a:latin typeface="+mn-lt"/>
          <a:ea typeface="+mn-ea"/>
          <a:cs typeface="+mn-cs"/>
        </a:defRPr>
      </a:lvl1pPr>
      <a:lvl2pPr marL="207019" indent="-205323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500" baseline="0">
          <a:solidFill>
            <a:schemeClr val="tx1"/>
          </a:solidFill>
          <a:latin typeface="+mn-lt"/>
        </a:defRPr>
      </a:lvl2pPr>
      <a:lvl3pPr marL="488701" indent="-279986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500" baseline="0">
          <a:solidFill>
            <a:schemeClr val="tx1"/>
          </a:solidFill>
          <a:latin typeface="+mn-lt"/>
        </a:defRPr>
      </a:lvl3pPr>
      <a:lvl4pPr marL="656693" indent="-16629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500" baseline="0">
          <a:solidFill>
            <a:schemeClr val="tx1"/>
          </a:solidFill>
          <a:latin typeface="+mn-lt"/>
        </a:defRPr>
      </a:lvl4pPr>
      <a:lvl5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500" baseline="0">
          <a:solidFill>
            <a:schemeClr val="tx1"/>
          </a:solidFill>
          <a:latin typeface="+mn-lt"/>
        </a:defRPr>
      </a:lvl5pPr>
      <a:lvl6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700" baseline="0">
          <a:solidFill>
            <a:schemeClr val="tx1"/>
          </a:solidFill>
          <a:latin typeface="+mn-lt"/>
        </a:defRPr>
      </a:lvl6pPr>
      <a:lvl7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700" baseline="0">
          <a:solidFill>
            <a:schemeClr val="tx1"/>
          </a:solidFill>
          <a:latin typeface="+mn-lt"/>
        </a:defRPr>
      </a:lvl7pPr>
      <a:lvl8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700" baseline="0">
          <a:solidFill>
            <a:schemeClr val="tx1"/>
          </a:solidFill>
          <a:latin typeface="+mn-lt"/>
        </a:defRPr>
      </a:lvl8pPr>
      <a:lvl9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7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77402" rtl="0" eaLnBrk="1" latinLnBrk="0" hangingPunct="1">
        <a:defRPr lang="x-none"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8701" algn="l" defTabSz="977402" rtl="0" eaLnBrk="1" latinLnBrk="0" hangingPunct="1">
        <a:defRPr lang="x-none"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7402" algn="l" defTabSz="977402" rtl="0" eaLnBrk="1" latinLnBrk="0" hangingPunct="1">
        <a:defRPr lang="x-none"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6103" algn="l" defTabSz="977402" rtl="0" eaLnBrk="1" latinLnBrk="0" hangingPunct="1">
        <a:defRPr lang="x-none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4804" algn="l" defTabSz="977402" rtl="0" eaLnBrk="1" latinLnBrk="0" hangingPunct="1">
        <a:defRPr lang="x-none"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3505" algn="l" defTabSz="977402" rtl="0" eaLnBrk="1" latinLnBrk="0" hangingPunct="1">
        <a:defRPr lang="x-none"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2206" algn="l" defTabSz="977402" rtl="0" eaLnBrk="1" latinLnBrk="0" hangingPunct="1">
        <a:defRPr lang="x-none"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908" algn="l" defTabSz="977402" rtl="0" eaLnBrk="1" latinLnBrk="0" hangingPunct="1">
        <a:defRPr lang="x-none"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9609" algn="l" defTabSz="977402" rtl="0" eaLnBrk="1" latinLnBrk="0" hangingPunct="1">
        <a:defRPr lang="x-none"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3" userDrawn="1">
          <p15:clr>
            <a:srgbClr val="F26B43"/>
          </p15:clr>
        </p15:guide>
        <p15:guide id="2" pos="6852" userDrawn="1">
          <p15:clr>
            <a:srgbClr val="F26B43"/>
          </p15:clr>
        </p15:guide>
        <p15:guide id="3" pos="96" userDrawn="1">
          <p15:clr>
            <a:srgbClr val="F26B43"/>
          </p15:clr>
        </p15:guide>
        <p15:guide id="4" orient="horz" pos="59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4067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9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4045880004"/>
              </p:ext>
            </p:extLst>
          </p:nvPr>
        </p:nvGraphicFramePr>
        <p:xfrm>
          <a:off x="2136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60" imgH="360" progId="TCLayout.ActiveDocument.1">
                  <p:embed/>
                </p:oleObj>
              </mc:Choice>
              <mc:Fallback>
                <p:oleObj name="think-cell Slide" r:id="rId29" imgW="360" imgH="360" progId="TCLayout.ActiveDocument.1">
                  <p:embed/>
                  <p:pic>
                    <p:nvPicPr>
                      <p:cNvPr id="1026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6" y="159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9" descr="PP balk"/>
          <p:cNvPicPr>
            <a:picLocks noChangeAspect="1" noChangeArrowheads="1"/>
          </p:cNvPicPr>
          <p:nvPr/>
        </p:nvPicPr>
        <p:blipFill rotWithShape="1">
          <a:blip r:embed="rId31" cstate="print"/>
          <a:srcRect l="4447" t="50000" r="3799" b="8558"/>
          <a:stretch/>
        </p:blipFill>
        <p:spPr bwMode="auto">
          <a:xfrm>
            <a:off x="164268" y="114214"/>
            <a:ext cx="12027732" cy="28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4271" y="592052"/>
            <a:ext cx="11893090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22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4270" y="1444958"/>
            <a:ext cx="11843810" cy="4892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71987" rIns="71987" bIns="719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</p:txBody>
      </p:sp>
      <p:sp>
        <p:nvSpPr>
          <p:cNvPr id="14336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7051" y="167389"/>
            <a:ext cx="4798484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2" tIns="45712" rIns="91422" bIns="45712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 defTabSz="914271"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143367" name="Text Box 7"/>
          <p:cNvSpPr txBox="1">
            <a:spLocks noChangeArrowheads="1"/>
          </p:cNvSpPr>
          <p:nvPr/>
        </p:nvSpPr>
        <p:spPr bwMode="auto">
          <a:xfrm>
            <a:off x="10204919" y="167389"/>
            <a:ext cx="1344084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2" tIns="45712" rIns="0" bIns="45712"/>
          <a:lstStyle/>
          <a:p>
            <a:pPr algn="r" defTabSz="914271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000" b="1">
                <a:solidFill>
                  <a:srgbClr val="FFFFFF"/>
                </a:solidFill>
              </a:rPr>
              <a:t>Slide</a:t>
            </a:r>
          </a:p>
        </p:txBody>
      </p:sp>
      <p:sp>
        <p:nvSpPr>
          <p:cNvPr id="143368" name="Text Box 8"/>
          <p:cNvSpPr txBox="1">
            <a:spLocks noChangeArrowheads="1"/>
          </p:cNvSpPr>
          <p:nvPr/>
        </p:nvSpPr>
        <p:spPr bwMode="auto">
          <a:xfrm>
            <a:off x="5490635" y="167389"/>
            <a:ext cx="1219200" cy="215900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  <a:effectLst/>
        </p:spPr>
        <p:txBody>
          <a:bodyPr wrap="none" lIns="0" tIns="46791" rIns="0" bIns="46791"/>
          <a:lstStyle/>
          <a:p>
            <a:pPr algn="ctr" defTabSz="914271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000" b="1">
                <a:solidFill>
                  <a:srgbClr val="FFFFFF"/>
                </a:solidFill>
              </a:rPr>
              <a:t>Tata Steel</a:t>
            </a:r>
          </a:p>
        </p:txBody>
      </p:sp>
    </p:spTree>
    <p:extLst>
      <p:ext uri="{BB962C8B-B14F-4D97-AF65-F5344CB8AC3E}">
        <p14:creationId xmlns:p14="http://schemas.microsoft.com/office/powerpoint/2010/main" val="3726491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  <p:sldLayoutId id="2147483738" r:id="rId21"/>
    <p:sldLayoutId id="2147483739" r:id="rId22"/>
    <p:sldLayoutId id="2147483740" r:id="rId23"/>
    <p:sldLayoutId id="2147483741" r:id="rId24"/>
    <p:sldLayoutId id="2147483742" r:id="rId25"/>
    <p:sldLayoutId id="2147483743" r:id="rId26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5pPr>
      <a:lvl6pPr marL="457113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6pPr>
      <a:lvl7pPr marL="914228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7pPr>
      <a:lvl8pPr marL="1371342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8pPr>
      <a:lvl9pPr marL="1828454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79355" indent="-179355" algn="l" rtl="0" eaLnBrk="0" fontAlgn="base" hangingPunct="0">
        <a:spcBef>
          <a:spcPts val="863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358708" indent="-179355" algn="l" rtl="0" eaLnBrk="0" fontAlgn="base" hangingPunct="0">
        <a:spcBef>
          <a:spcPts val="863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  <a:cs typeface="+mn-cs"/>
        </a:defRPr>
      </a:lvl2pPr>
      <a:lvl3pPr marL="1234842" indent="-228556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642753" indent="-228556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012" indent="-228556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125" indent="-22855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238" indent="-22855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8352" indent="-22855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5468" indent="-22855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914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8" algn="l" defTabSz="914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2" algn="l" defTabSz="914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4" algn="l" defTabSz="914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69" algn="l" defTabSz="914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1" algn="l" defTabSz="914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96" algn="l" defTabSz="914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0" algn="l" defTabSz="914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9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07214878"/>
              </p:ext>
            </p:extLst>
          </p:nvPr>
        </p:nvGraphicFramePr>
        <p:xfrm>
          <a:off x="2136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60" imgH="360" progId="TCLayout.ActiveDocument.1">
                  <p:embed/>
                </p:oleObj>
              </mc:Choice>
              <mc:Fallback>
                <p:oleObj name="think-cell Slide" r:id="rId27" imgW="360" imgH="360" progId="TCLayout.ActiveDocument.1">
                  <p:embed/>
                  <p:pic>
                    <p:nvPicPr>
                      <p:cNvPr id="1026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6" y="159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9" descr="PP balk"/>
          <p:cNvPicPr>
            <a:picLocks noChangeAspect="1" noChangeArrowheads="1"/>
          </p:cNvPicPr>
          <p:nvPr/>
        </p:nvPicPr>
        <p:blipFill rotWithShape="1">
          <a:blip r:embed="rId29" cstate="print"/>
          <a:srcRect l="4447" t="50000" r="3799" b="8558"/>
          <a:stretch/>
        </p:blipFill>
        <p:spPr bwMode="auto">
          <a:xfrm>
            <a:off x="164268" y="114214"/>
            <a:ext cx="12027732" cy="28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4271" y="592052"/>
            <a:ext cx="11893090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22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4270" y="1444958"/>
            <a:ext cx="11843810" cy="4892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71987" rIns="71987" bIns="719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</p:txBody>
      </p:sp>
      <p:sp>
        <p:nvSpPr>
          <p:cNvPr id="14336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7051" y="167389"/>
            <a:ext cx="4798484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2" tIns="45712" rIns="91422" bIns="45712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 defTabSz="914271"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143367" name="Text Box 7"/>
          <p:cNvSpPr txBox="1">
            <a:spLocks noChangeArrowheads="1"/>
          </p:cNvSpPr>
          <p:nvPr/>
        </p:nvSpPr>
        <p:spPr bwMode="auto">
          <a:xfrm>
            <a:off x="10204919" y="167389"/>
            <a:ext cx="1344084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2" tIns="45712" rIns="0" bIns="45712"/>
          <a:lstStyle/>
          <a:p>
            <a:pPr algn="r" defTabSz="914271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000" b="1">
                <a:solidFill>
                  <a:srgbClr val="FFFFFF"/>
                </a:solidFill>
              </a:rPr>
              <a:t>Slide</a:t>
            </a:r>
          </a:p>
        </p:txBody>
      </p:sp>
      <p:sp>
        <p:nvSpPr>
          <p:cNvPr id="143368" name="Text Box 8"/>
          <p:cNvSpPr txBox="1">
            <a:spLocks noChangeArrowheads="1"/>
          </p:cNvSpPr>
          <p:nvPr/>
        </p:nvSpPr>
        <p:spPr bwMode="auto">
          <a:xfrm>
            <a:off x="5490635" y="167389"/>
            <a:ext cx="1219200" cy="215900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  <a:effectLst/>
        </p:spPr>
        <p:txBody>
          <a:bodyPr wrap="none" lIns="0" tIns="46791" rIns="0" bIns="46791"/>
          <a:lstStyle/>
          <a:p>
            <a:pPr algn="ctr" defTabSz="914271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000" b="1">
                <a:solidFill>
                  <a:srgbClr val="FFFFFF"/>
                </a:solidFill>
              </a:rPr>
              <a:t>Tata Steel</a:t>
            </a:r>
          </a:p>
        </p:txBody>
      </p:sp>
    </p:spTree>
    <p:extLst>
      <p:ext uri="{BB962C8B-B14F-4D97-AF65-F5344CB8AC3E}">
        <p14:creationId xmlns:p14="http://schemas.microsoft.com/office/powerpoint/2010/main" val="624789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6" r:id="rId14"/>
    <p:sldLayoutId id="2147483767" r:id="rId15"/>
    <p:sldLayoutId id="2147483768" r:id="rId16"/>
    <p:sldLayoutId id="2147483769" r:id="rId17"/>
    <p:sldLayoutId id="2147483770" r:id="rId18"/>
    <p:sldLayoutId id="2147483771" r:id="rId19"/>
    <p:sldLayoutId id="2147483772" r:id="rId20"/>
    <p:sldLayoutId id="2147483773" r:id="rId21"/>
    <p:sldLayoutId id="2147483774" r:id="rId22"/>
    <p:sldLayoutId id="2147483775" r:id="rId23"/>
    <p:sldLayoutId id="2147483776" r:id="rId24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5pPr>
      <a:lvl6pPr marL="457113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6pPr>
      <a:lvl7pPr marL="914228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7pPr>
      <a:lvl8pPr marL="1371342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8pPr>
      <a:lvl9pPr marL="1828454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79355" indent="-179355" algn="l" rtl="0" eaLnBrk="0" fontAlgn="base" hangingPunct="0">
        <a:spcBef>
          <a:spcPts val="863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358708" indent="-179355" algn="l" rtl="0" eaLnBrk="0" fontAlgn="base" hangingPunct="0">
        <a:spcBef>
          <a:spcPts val="863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  <a:cs typeface="+mn-cs"/>
        </a:defRPr>
      </a:lvl2pPr>
      <a:lvl3pPr marL="1234842" indent="-228556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642753" indent="-228556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012" indent="-228556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125" indent="-22855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238" indent="-22855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8352" indent="-22855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5468" indent="-22855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914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8" algn="l" defTabSz="914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2" algn="l" defTabSz="914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4" algn="l" defTabSz="914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69" algn="l" defTabSz="914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1" algn="l" defTabSz="914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96" algn="l" defTabSz="914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0" algn="l" defTabSz="914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9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75689024"/>
              </p:ext>
            </p:extLst>
          </p:nvPr>
        </p:nvGraphicFramePr>
        <p:xfrm>
          <a:off x="2159" y="163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026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9" y="163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9" descr="PP balk"/>
          <p:cNvPicPr>
            <a:picLocks noChangeAspect="1" noChangeArrowheads="1"/>
          </p:cNvPicPr>
          <p:nvPr/>
        </p:nvPicPr>
        <p:blipFill rotWithShape="1">
          <a:blip r:embed="rId7" cstate="print"/>
          <a:srcRect l="4447" t="56332" r="3799" b="8558"/>
          <a:stretch/>
        </p:blipFill>
        <p:spPr bwMode="auto">
          <a:xfrm>
            <a:off x="132145" y="31"/>
            <a:ext cx="12027730" cy="3650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4277" y="592068"/>
            <a:ext cx="11893090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5631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4272" y="1444958"/>
            <a:ext cx="11843810" cy="4892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75300" rIns="75300" bIns="753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</p:txBody>
      </p:sp>
      <p:sp>
        <p:nvSpPr>
          <p:cNvPr id="143367" name="Text Box 7"/>
          <p:cNvSpPr txBox="1">
            <a:spLocks noChangeArrowheads="1"/>
          </p:cNvSpPr>
          <p:nvPr/>
        </p:nvSpPr>
        <p:spPr bwMode="auto">
          <a:xfrm>
            <a:off x="10512503" y="89011"/>
            <a:ext cx="1344084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1723" tIns="35865" rIns="0" bIns="35865"/>
          <a:lstStyle/>
          <a:p>
            <a:pPr algn="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825" b="1">
                <a:solidFill>
                  <a:srgbClr val="FFFFFF"/>
                </a:solidFill>
              </a:rPr>
              <a:t>Slide </a:t>
            </a:r>
            <a:fld id="{DAE5CDB2-AA14-45F3-8122-875B907485CE}" type="slidenum">
              <a:rPr lang="en-GB" sz="825" b="1" smtClean="0">
                <a:solidFill>
                  <a:srgbClr val="FFFFFF"/>
                </a:solidFill>
              </a:rPr>
              <a:pPr algn="r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GB" sz="825" b="1">
              <a:solidFill>
                <a:srgbClr val="FFFFFF"/>
              </a:solidFill>
            </a:endParaRPr>
          </a:p>
        </p:txBody>
      </p:sp>
      <p:sp>
        <p:nvSpPr>
          <p:cNvPr id="143368" name="Text Box 8"/>
          <p:cNvSpPr txBox="1">
            <a:spLocks noChangeArrowheads="1"/>
          </p:cNvSpPr>
          <p:nvPr/>
        </p:nvSpPr>
        <p:spPr bwMode="auto">
          <a:xfrm>
            <a:off x="5458502" y="89011"/>
            <a:ext cx="1219201" cy="215900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  <a:effectLst/>
        </p:spPr>
        <p:txBody>
          <a:bodyPr wrap="none" lIns="0" tIns="36709" rIns="0" bIns="36709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825" b="1">
                <a:solidFill>
                  <a:srgbClr val="FFFFFF"/>
                </a:solidFill>
              </a:rPr>
              <a:t>Tata Steel</a:t>
            </a:r>
          </a:p>
        </p:txBody>
      </p:sp>
    </p:spTree>
    <p:extLst>
      <p:ext uri="{BB962C8B-B14F-4D97-AF65-F5344CB8AC3E}">
        <p14:creationId xmlns:p14="http://schemas.microsoft.com/office/powerpoint/2010/main" val="1745320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</p:sldLayoutIdLst>
  <p:transition>
    <p:fade/>
  </p:transition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tx2"/>
          </a:solidFill>
          <a:latin typeface="Arial" charset="0"/>
          <a:cs typeface="Arial" charset="0"/>
        </a:defRPr>
      </a:lvl5pPr>
      <a:lvl6pPr marL="358626" algn="l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tx2"/>
          </a:solidFill>
          <a:latin typeface="Arial" charset="0"/>
          <a:cs typeface="Arial" charset="0"/>
        </a:defRPr>
      </a:lvl6pPr>
      <a:lvl7pPr marL="717254" algn="l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tx2"/>
          </a:solidFill>
          <a:latin typeface="Arial" charset="0"/>
          <a:cs typeface="Arial" charset="0"/>
        </a:defRPr>
      </a:lvl7pPr>
      <a:lvl8pPr marL="1075879" algn="l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tx2"/>
          </a:solidFill>
          <a:latin typeface="Arial" charset="0"/>
          <a:cs typeface="Arial" charset="0"/>
        </a:defRPr>
      </a:lvl8pPr>
      <a:lvl9pPr marL="1434511" algn="l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40714" indent="-140714" algn="l" rtl="0" eaLnBrk="1" fontAlgn="base" hangingPunct="1">
        <a:spcBef>
          <a:spcPts val="678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125">
          <a:solidFill>
            <a:schemeClr val="tx1"/>
          </a:solidFill>
          <a:latin typeface="+mn-lt"/>
          <a:ea typeface="+mn-ea"/>
          <a:cs typeface="+mn-cs"/>
        </a:defRPr>
      </a:lvl1pPr>
      <a:lvl2pPr marL="281423" indent="-140714" algn="l" rtl="0" eaLnBrk="1" fontAlgn="base" hangingPunct="1">
        <a:spcBef>
          <a:spcPts val="678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125">
          <a:solidFill>
            <a:schemeClr val="tx1"/>
          </a:solidFill>
          <a:latin typeface="+mn-lt"/>
          <a:cs typeface="+mn-cs"/>
        </a:defRPr>
      </a:lvl2pPr>
      <a:lvl3pPr marL="968793" indent="-179314" algn="l" rtl="0" eaLnBrk="1" fontAlgn="base" hangingPunct="1">
        <a:spcBef>
          <a:spcPct val="20000"/>
        </a:spcBef>
        <a:spcAft>
          <a:spcPct val="0"/>
        </a:spcAft>
        <a:buChar char="•"/>
        <a:defRPr sz="1575">
          <a:solidFill>
            <a:schemeClr val="tx1"/>
          </a:solidFill>
          <a:latin typeface="+mn-lt"/>
          <a:cs typeface="+mn-cs"/>
        </a:defRPr>
      </a:lvl3pPr>
      <a:lvl4pPr marL="1288818" indent="-179314" algn="l" rtl="0" eaLnBrk="1" fontAlgn="base" hangingPunct="1">
        <a:spcBef>
          <a:spcPct val="20000"/>
        </a:spcBef>
        <a:spcAft>
          <a:spcPct val="0"/>
        </a:spcAft>
        <a:buChar char="–"/>
        <a:defRPr sz="1575">
          <a:solidFill>
            <a:schemeClr val="tx1"/>
          </a:solidFill>
          <a:latin typeface="+mn-lt"/>
          <a:cs typeface="+mn-cs"/>
        </a:defRPr>
      </a:lvl4pPr>
      <a:lvl5pPr marL="1613816" indent="-179314" algn="l" rtl="0" eaLnBrk="1" fontAlgn="base" hangingPunct="1">
        <a:spcBef>
          <a:spcPct val="20000"/>
        </a:spcBef>
        <a:spcAft>
          <a:spcPct val="0"/>
        </a:spcAft>
        <a:buChar char="»"/>
        <a:defRPr sz="1575">
          <a:solidFill>
            <a:schemeClr val="tx1"/>
          </a:solidFill>
          <a:latin typeface="+mn-lt"/>
          <a:cs typeface="+mn-cs"/>
        </a:defRPr>
      </a:lvl5pPr>
      <a:lvl6pPr marL="1972449" indent="-179314" algn="l" rtl="0" eaLnBrk="1" fontAlgn="base" hangingPunct="1">
        <a:spcBef>
          <a:spcPct val="20000"/>
        </a:spcBef>
        <a:spcAft>
          <a:spcPct val="0"/>
        </a:spcAft>
        <a:buChar char="»"/>
        <a:defRPr sz="1575">
          <a:solidFill>
            <a:schemeClr val="tx1"/>
          </a:solidFill>
          <a:latin typeface="+mn-lt"/>
          <a:cs typeface="+mn-cs"/>
        </a:defRPr>
      </a:lvl6pPr>
      <a:lvl7pPr marL="2331080" indent="-179314" algn="l" rtl="0" eaLnBrk="1" fontAlgn="base" hangingPunct="1">
        <a:spcBef>
          <a:spcPct val="20000"/>
        </a:spcBef>
        <a:spcAft>
          <a:spcPct val="0"/>
        </a:spcAft>
        <a:buChar char="»"/>
        <a:defRPr sz="1575">
          <a:solidFill>
            <a:schemeClr val="tx1"/>
          </a:solidFill>
          <a:latin typeface="+mn-lt"/>
          <a:cs typeface="+mn-cs"/>
        </a:defRPr>
      </a:lvl7pPr>
      <a:lvl8pPr marL="2689706" indent="-179314" algn="l" rtl="0" eaLnBrk="1" fontAlgn="base" hangingPunct="1">
        <a:spcBef>
          <a:spcPct val="20000"/>
        </a:spcBef>
        <a:spcAft>
          <a:spcPct val="0"/>
        </a:spcAft>
        <a:buChar char="»"/>
        <a:defRPr sz="1575">
          <a:solidFill>
            <a:schemeClr val="tx1"/>
          </a:solidFill>
          <a:latin typeface="+mn-lt"/>
          <a:cs typeface="+mn-cs"/>
        </a:defRPr>
      </a:lvl8pPr>
      <a:lvl9pPr marL="3048337" indent="-179314" algn="l" rtl="0" eaLnBrk="1" fontAlgn="base" hangingPunct="1">
        <a:spcBef>
          <a:spcPct val="20000"/>
        </a:spcBef>
        <a:spcAft>
          <a:spcPct val="0"/>
        </a:spcAft>
        <a:buChar char="»"/>
        <a:defRPr sz="157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725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58626" algn="l" defTabSz="71725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717254" algn="l" defTabSz="71725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75879" algn="l" defTabSz="71725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434511" algn="l" defTabSz="71725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93137" algn="l" defTabSz="71725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151766" algn="l" defTabSz="71725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10393" algn="l" defTabSz="71725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869022" algn="l" defTabSz="71725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9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4043448798"/>
              </p:ext>
            </p:extLst>
          </p:nvPr>
        </p:nvGraphicFramePr>
        <p:xfrm>
          <a:off x="2136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60" imgH="360" progId="TCLayout.ActiveDocument.1">
                  <p:embed/>
                </p:oleObj>
              </mc:Choice>
              <mc:Fallback>
                <p:oleObj name="think-cell Slide" r:id="rId29" imgW="360" imgH="360" progId="TCLayout.ActiveDocument.1">
                  <p:embed/>
                  <p:pic>
                    <p:nvPicPr>
                      <p:cNvPr id="1026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6" y="1595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9" descr="PP balk"/>
          <p:cNvPicPr>
            <a:picLocks noChangeAspect="1" noChangeArrowheads="1"/>
          </p:cNvPicPr>
          <p:nvPr/>
        </p:nvPicPr>
        <p:blipFill rotWithShape="1">
          <a:blip r:embed="rId31" cstate="print"/>
          <a:srcRect l="4447" t="50000" r="3799" b="8558"/>
          <a:stretch/>
        </p:blipFill>
        <p:spPr bwMode="auto">
          <a:xfrm>
            <a:off x="164269" y="114215"/>
            <a:ext cx="12027732" cy="28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4272" y="592053"/>
            <a:ext cx="11893090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22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4270" y="1444958"/>
            <a:ext cx="11843810" cy="4892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71987" rIns="71987" bIns="719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</p:txBody>
      </p:sp>
      <p:sp>
        <p:nvSpPr>
          <p:cNvPr id="14336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41135" y="167389"/>
            <a:ext cx="67098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12" rIns="91422" bIns="45712" numCol="1" anchor="t" anchorCtr="0" compatLnSpc="1">
            <a:prstTxWarp prst="textNoShape">
              <a:avLst/>
            </a:prstTxWarp>
          </a:bodyPr>
          <a:lstStyle>
            <a:lvl1pPr algn="l">
              <a:defRPr sz="813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fld id="{7C8DA21C-F319-470D-AFEA-38AD1E9E05DF}" type="slidenum">
              <a:rPr lang="en-IN" smtClean="0"/>
              <a:t>‹#›</a:t>
            </a:fld>
            <a:endParaRPr lang="en-IN"/>
          </a:p>
        </p:txBody>
      </p:sp>
      <p:sp>
        <p:nvSpPr>
          <p:cNvPr id="14336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7051" y="167389"/>
            <a:ext cx="4798484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2" tIns="45712" rIns="91422" bIns="45712" numCol="1" anchor="t" anchorCtr="0" compatLnSpc="1">
            <a:prstTxWarp prst="textNoShape">
              <a:avLst/>
            </a:prstTxWarp>
          </a:bodyPr>
          <a:lstStyle>
            <a:lvl1pPr algn="l">
              <a:defRPr sz="813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endParaRPr lang="en-IN"/>
          </a:p>
        </p:txBody>
      </p:sp>
      <p:sp>
        <p:nvSpPr>
          <p:cNvPr id="143367" name="Text Box 7"/>
          <p:cNvSpPr txBox="1">
            <a:spLocks noChangeArrowheads="1"/>
          </p:cNvSpPr>
          <p:nvPr/>
        </p:nvSpPr>
        <p:spPr bwMode="auto">
          <a:xfrm>
            <a:off x="10204919" y="167389"/>
            <a:ext cx="1344084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4280" tIns="37141" rIns="0" bIns="37141"/>
          <a:lstStyle/>
          <a:p>
            <a:pPr algn="r" defTabSz="742845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813" b="1">
                <a:solidFill>
                  <a:srgbClr val="FFFFFF"/>
                </a:solidFill>
              </a:rPr>
              <a:t>Slide</a:t>
            </a:r>
          </a:p>
        </p:txBody>
      </p:sp>
      <p:sp>
        <p:nvSpPr>
          <p:cNvPr id="143368" name="Text Box 8"/>
          <p:cNvSpPr txBox="1">
            <a:spLocks noChangeArrowheads="1"/>
          </p:cNvSpPr>
          <p:nvPr/>
        </p:nvSpPr>
        <p:spPr bwMode="auto">
          <a:xfrm>
            <a:off x="5490635" y="167389"/>
            <a:ext cx="1219200" cy="215900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  <a:effectLst/>
        </p:spPr>
        <p:txBody>
          <a:bodyPr wrap="none" lIns="0" tIns="38018" rIns="0" bIns="38018"/>
          <a:lstStyle/>
          <a:p>
            <a:pPr algn="ctr" defTabSz="742845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813" b="1">
                <a:solidFill>
                  <a:srgbClr val="FFFFFF"/>
                </a:solidFill>
              </a:rPr>
              <a:t>Tata Steel</a:t>
            </a:r>
          </a:p>
        </p:txBody>
      </p:sp>
    </p:spTree>
    <p:extLst>
      <p:ext uri="{BB962C8B-B14F-4D97-AF65-F5344CB8AC3E}">
        <p14:creationId xmlns:p14="http://schemas.microsoft.com/office/powerpoint/2010/main" val="1979611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6" r:id="rId16"/>
    <p:sldLayoutId id="2147483797" r:id="rId17"/>
    <p:sldLayoutId id="2147483798" r:id="rId18"/>
    <p:sldLayoutId id="2147483799" r:id="rId19"/>
    <p:sldLayoutId id="2147483800" r:id="rId20"/>
    <p:sldLayoutId id="2147483801" r:id="rId21"/>
    <p:sldLayoutId id="2147483802" r:id="rId22"/>
    <p:sldLayoutId id="2147483803" r:id="rId23"/>
    <p:sldLayoutId id="2147483804" r:id="rId24"/>
    <p:sldLayoutId id="2147483805" r:id="rId25"/>
    <p:sldLayoutId id="2147483806" r:id="rId26"/>
  </p:sldLayoutIdLst>
  <p:transition>
    <p:fade/>
  </p:transition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463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788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788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788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788" b="1">
          <a:solidFill>
            <a:schemeClr val="tx2"/>
          </a:solidFill>
          <a:latin typeface="Arial" charset="0"/>
          <a:cs typeface="Arial" charset="0"/>
        </a:defRPr>
      </a:lvl5pPr>
      <a:lvl6pPr marL="371404" algn="l" rtl="0" eaLnBrk="1" fontAlgn="base" hangingPunct="1">
        <a:spcBef>
          <a:spcPct val="0"/>
        </a:spcBef>
        <a:spcAft>
          <a:spcPct val="0"/>
        </a:spcAft>
        <a:defRPr sz="1788" b="1">
          <a:solidFill>
            <a:schemeClr val="tx2"/>
          </a:solidFill>
          <a:latin typeface="Arial" charset="0"/>
          <a:cs typeface="Arial" charset="0"/>
        </a:defRPr>
      </a:lvl6pPr>
      <a:lvl7pPr marL="742810" algn="l" rtl="0" eaLnBrk="1" fontAlgn="base" hangingPunct="1">
        <a:spcBef>
          <a:spcPct val="0"/>
        </a:spcBef>
        <a:spcAft>
          <a:spcPct val="0"/>
        </a:spcAft>
        <a:defRPr sz="1788" b="1">
          <a:solidFill>
            <a:schemeClr val="tx2"/>
          </a:solidFill>
          <a:latin typeface="Arial" charset="0"/>
          <a:cs typeface="Arial" charset="0"/>
        </a:defRPr>
      </a:lvl7pPr>
      <a:lvl8pPr marL="1114215" algn="l" rtl="0" eaLnBrk="1" fontAlgn="base" hangingPunct="1">
        <a:spcBef>
          <a:spcPct val="0"/>
        </a:spcBef>
        <a:spcAft>
          <a:spcPct val="0"/>
        </a:spcAft>
        <a:defRPr sz="1788" b="1">
          <a:solidFill>
            <a:schemeClr val="tx2"/>
          </a:solidFill>
          <a:latin typeface="Arial" charset="0"/>
          <a:cs typeface="Arial" charset="0"/>
        </a:defRPr>
      </a:lvl8pPr>
      <a:lvl9pPr marL="1485619" algn="l" rtl="0" eaLnBrk="1" fontAlgn="base" hangingPunct="1">
        <a:spcBef>
          <a:spcPct val="0"/>
        </a:spcBef>
        <a:spcAft>
          <a:spcPct val="0"/>
        </a:spcAft>
        <a:defRPr sz="178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45726" indent="-145726" algn="l" rtl="0" eaLnBrk="1" fontAlgn="base" hangingPunct="1">
        <a:spcBef>
          <a:spcPts val="701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219">
          <a:solidFill>
            <a:schemeClr val="tx1"/>
          </a:solidFill>
          <a:latin typeface="+mn-lt"/>
          <a:ea typeface="+mn-ea"/>
          <a:cs typeface="+mn-cs"/>
        </a:defRPr>
      </a:lvl1pPr>
      <a:lvl2pPr marL="291450" indent="-145726" algn="l" rtl="0" eaLnBrk="1" fontAlgn="base" hangingPunct="1">
        <a:spcBef>
          <a:spcPts val="701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219">
          <a:solidFill>
            <a:schemeClr val="tx1"/>
          </a:solidFill>
          <a:latin typeface="+mn-lt"/>
          <a:cs typeface="+mn-cs"/>
        </a:defRPr>
      </a:lvl2pPr>
      <a:lvl3pPr marL="1003309" indent="-185702" algn="l" rtl="0" eaLnBrk="1" fontAlgn="base" hangingPunct="1">
        <a:spcBef>
          <a:spcPct val="20000"/>
        </a:spcBef>
        <a:spcAft>
          <a:spcPct val="0"/>
        </a:spcAft>
        <a:buChar char="•"/>
        <a:defRPr sz="1625">
          <a:solidFill>
            <a:schemeClr val="tx1"/>
          </a:solidFill>
          <a:latin typeface="+mn-lt"/>
          <a:cs typeface="+mn-cs"/>
        </a:defRPr>
      </a:lvl3pPr>
      <a:lvl4pPr marL="1334737" indent="-185702" algn="l" rtl="0" eaLnBrk="1" fontAlgn="base" hangingPunct="1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  <a:cs typeface="+mn-cs"/>
        </a:defRPr>
      </a:lvl4pPr>
      <a:lvl5pPr marL="1671322" indent="-185702" algn="l" rtl="0" eaLnBrk="1" fontAlgn="base" hangingPunct="1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5pPr>
      <a:lvl6pPr marL="2042727" indent="-185702" algn="l" rtl="0" eaLnBrk="1" fontAlgn="base" hangingPunct="1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14131" indent="-185702" algn="l" rtl="0" eaLnBrk="1" fontAlgn="base" hangingPunct="1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85536" indent="-185702" algn="l" rtl="0" eaLnBrk="1" fontAlgn="base" hangingPunct="1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56943" indent="-185702" algn="l" rtl="0" eaLnBrk="1" fontAlgn="base" hangingPunct="1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4281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04" algn="l" defTabSz="74281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810" algn="l" defTabSz="74281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215" algn="l" defTabSz="74281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619" algn="l" defTabSz="74281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025" algn="l" defTabSz="74281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428" algn="l" defTabSz="74281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599834" algn="l" defTabSz="74281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239" algn="l" defTabSz="74281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5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wmf"/><Relationship Id="rId2" Type="http://schemas.openxmlformats.org/officeDocument/2006/relationships/oleObject" Target="../embeddings/oleObject23.bin"/><Relationship Id="rId1" Type="http://schemas.openxmlformats.org/officeDocument/2006/relationships/slideLayout" Target="../slideLayouts/slideLayout152.xml"/><Relationship Id="rId5" Type="http://schemas.openxmlformats.org/officeDocument/2006/relationships/image" Target="../media/image37.wmf"/><Relationship Id="rId4" Type="http://schemas.openxmlformats.org/officeDocument/2006/relationships/oleObject" Target="../embeddings/oleObject24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wmf"/><Relationship Id="rId2" Type="http://schemas.openxmlformats.org/officeDocument/2006/relationships/oleObject" Target="../embeddings/oleObject25.bin"/><Relationship Id="rId1" Type="http://schemas.openxmlformats.org/officeDocument/2006/relationships/slideLayout" Target="../slideLayouts/slideLayout15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13" Type="http://schemas.openxmlformats.org/officeDocument/2006/relationships/oleObject" Target="../embeddings/oleObject26.bin"/><Relationship Id="rId18" Type="http://schemas.openxmlformats.org/officeDocument/2006/relationships/slide" Target="slide23.xml"/><Relationship Id="rId3" Type="http://schemas.openxmlformats.org/officeDocument/2006/relationships/tags" Target="../tags/tag175.xml"/><Relationship Id="rId21" Type="http://schemas.openxmlformats.org/officeDocument/2006/relationships/image" Target="../media/image40.png"/><Relationship Id="rId7" Type="http://schemas.openxmlformats.org/officeDocument/2006/relationships/tags" Target="../tags/tag179.xml"/><Relationship Id="rId12" Type="http://schemas.openxmlformats.org/officeDocument/2006/relationships/slideLayout" Target="../slideLayouts/slideLayout152.xml"/><Relationship Id="rId17" Type="http://schemas.openxmlformats.org/officeDocument/2006/relationships/image" Target="../media/image39.png"/><Relationship Id="rId2" Type="http://schemas.openxmlformats.org/officeDocument/2006/relationships/tags" Target="../tags/tag174.xml"/><Relationship Id="rId16" Type="http://schemas.openxmlformats.org/officeDocument/2006/relationships/chart" Target="../charts/chart2.xml"/><Relationship Id="rId20" Type="http://schemas.openxmlformats.org/officeDocument/2006/relationships/slide" Target="slide25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tags" Target="../tags/tag183.xml"/><Relationship Id="rId5" Type="http://schemas.openxmlformats.org/officeDocument/2006/relationships/tags" Target="../tags/tag177.xml"/><Relationship Id="rId15" Type="http://schemas.openxmlformats.org/officeDocument/2006/relationships/chart" Target="../charts/chart1.xml"/><Relationship Id="rId10" Type="http://schemas.openxmlformats.org/officeDocument/2006/relationships/tags" Target="../tags/tag182.xml"/><Relationship Id="rId19" Type="http://schemas.openxmlformats.org/officeDocument/2006/relationships/slide" Target="slide24.xml"/><Relationship Id="rId4" Type="http://schemas.openxmlformats.org/officeDocument/2006/relationships/tags" Target="../tags/tag176.xml"/><Relationship Id="rId9" Type="http://schemas.openxmlformats.org/officeDocument/2006/relationships/tags" Target="../tags/tag181.xml"/><Relationship Id="rId14" Type="http://schemas.openxmlformats.org/officeDocument/2006/relationships/image" Target="../media/image18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5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3.svg"/><Relationship Id="rId3" Type="http://schemas.openxmlformats.org/officeDocument/2006/relationships/image" Target="../media/image43.svg"/><Relationship Id="rId7" Type="http://schemas.openxmlformats.org/officeDocument/2006/relationships/image" Target="../media/image47.svg"/><Relationship Id="rId12" Type="http://schemas.openxmlformats.org/officeDocument/2006/relationships/image" Target="../media/image52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52.xml"/><Relationship Id="rId6" Type="http://schemas.openxmlformats.org/officeDocument/2006/relationships/image" Target="../media/image46.png"/><Relationship Id="rId11" Type="http://schemas.openxmlformats.org/officeDocument/2006/relationships/image" Target="../media/image51.svg"/><Relationship Id="rId5" Type="http://schemas.openxmlformats.org/officeDocument/2006/relationships/image" Target="../media/image45.svg"/><Relationship Id="rId10" Type="http://schemas.openxmlformats.org/officeDocument/2006/relationships/image" Target="../media/image50.png"/><Relationship Id="rId4" Type="http://schemas.openxmlformats.org/officeDocument/2006/relationships/image" Target="../media/image44.png"/><Relationship Id="rId9" Type="http://schemas.openxmlformats.org/officeDocument/2006/relationships/image" Target="../media/image49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wmf"/><Relationship Id="rId2" Type="http://schemas.openxmlformats.org/officeDocument/2006/relationships/oleObject" Target="../embeddings/oleObject27.bin"/><Relationship Id="rId1" Type="http://schemas.openxmlformats.org/officeDocument/2006/relationships/slideLayout" Target="../slideLayouts/slideLayout152.xml"/><Relationship Id="rId4" Type="http://schemas.openxmlformats.org/officeDocument/2006/relationships/slide" Target="slide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wmf"/><Relationship Id="rId2" Type="http://schemas.openxmlformats.org/officeDocument/2006/relationships/oleObject" Target="../embeddings/oleObject28.bin"/><Relationship Id="rId1" Type="http://schemas.openxmlformats.org/officeDocument/2006/relationships/slideLayout" Target="../slideLayouts/slideLayout15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" Target="slide35.xml"/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152.xml"/><Relationship Id="rId6" Type="http://schemas.openxmlformats.org/officeDocument/2006/relationships/image" Target="../media/image30.wmf"/><Relationship Id="rId5" Type="http://schemas.openxmlformats.org/officeDocument/2006/relationships/oleObject" Target="../embeddings/oleObject29.bin"/><Relationship Id="rId4" Type="http://schemas.openxmlformats.org/officeDocument/2006/relationships/slide" Target="slide3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5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" Target="slide26.xml"/><Relationship Id="rId3" Type="http://schemas.openxmlformats.org/officeDocument/2006/relationships/oleObject" Target="../embeddings/oleObject30.bin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152.xml"/><Relationship Id="rId1" Type="http://schemas.openxmlformats.org/officeDocument/2006/relationships/tags" Target="../tags/tag184.xml"/><Relationship Id="rId6" Type="http://schemas.openxmlformats.org/officeDocument/2006/relationships/image" Target="../media/image33.png"/><Relationship Id="rId5" Type="http://schemas.openxmlformats.org/officeDocument/2006/relationships/image" Target="../media/image31.png"/><Relationship Id="rId10" Type="http://schemas.openxmlformats.org/officeDocument/2006/relationships/slide" Target="slide28.xml"/><Relationship Id="rId4" Type="http://schemas.openxmlformats.org/officeDocument/2006/relationships/image" Target="../media/image18.emf"/><Relationship Id="rId9" Type="http://schemas.openxmlformats.org/officeDocument/2006/relationships/slide" Target="slide2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jpeg"/><Relationship Id="rId3" Type="http://schemas.openxmlformats.org/officeDocument/2006/relationships/image" Target="../media/image57.jpeg"/><Relationship Id="rId7" Type="http://schemas.openxmlformats.org/officeDocument/2006/relationships/image" Target="../media/image61.jpe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152.xml"/><Relationship Id="rId6" Type="http://schemas.openxmlformats.org/officeDocument/2006/relationships/image" Target="../media/image60.jpeg"/><Relationship Id="rId5" Type="http://schemas.openxmlformats.org/officeDocument/2006/relationships/image" Target="../media/image59.jpeg"/><Relationship Id="rId4" Type="http://schemas.openxmlformats.org/officeDocument/2006/relationships/image" Target="../media/image58.jpeg"/><Relationship Id="rId9" Type="http://schemas.openxmlformats.org/officeDocument/2006/relationships/image" Target="../media/image63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wmf"/><Relationship Id="rId2" Type="http://schemas.openxmlformats.org/officeDocument/2006/relationships/oleObject" Target="../embeddings/oleObject31.bin"/><Relationship Id="rId1" Type="http://schemas.openxmlformats.org/officeDocument/2006/relationships/slideLayout" Target="../slideLayouts/slideLayout152.xml"/></Relationships>
</file>

<file path=ppt/slides/_rels/slide23.xml.rels><?xml version="1.0" encoding="UTF-8" standalone="yes"?>
<Relationships xmlns="http://schemas.openxmlformats.org/package/2006/relationships"><Relationship Id="rId13" Type="http://schemas.openxmlformats.org/officeDocument/2006/relationships/tags" Target="../tags/tag197.xml"/><Relationship Id="rId18" Type="http://schemas.openxmlformats.org/officeDocument/2006/relationships/tags" Target="../tags/tag202.xml"/><Relationship Id="rId26" Type="http://schemas.openxmlformats.org/officeDocument/2006/relationships/tags" Target="../tags/tag210.xml"/><Relationship Id="rId39" Type="http://schemas.openxmlformats.org/officeDocument/2006/relationships/tags" Target="../tags/tag223.xml"/><Relationship Id="rId21" Type="http://schemas.openxmlformats.org/officeDocument/2006/relationships/tags" Target="../tags/tag205.xml"/><Relationship Id="rId34" Type="http://schemas.openxmlformats.org/officeDocument/2006/relationships/tags" Target="../tags/tag218.xml"/><Relationship Id="rId42" Type="http://schemas.openxmlformats.org/officeDocument/2006/relationships/tags" Target="../tags/tag226.xml"/><Relationship Id="rId47" Type="http://schemas.openxmlformats.org/officeDocument/2006/relationships/tags" Target="../tags/tag231.xml"/><Relationship Id="rId50" Type="http://schemas.openxmlformats.org/officeDocument/2006/relationships/tags" Target="../tags/tag234.xml"/><Relationship Id="rId55" Type="http://schemas.openxmlformats.org/officeDocument/2006/relationships/oleObject" Target="../embeddings/oleObject32.bin"/><Relationship Id="rId7" Type="http://schemas.openxmlformats.org/officeDocument/2006/relationships/tags" Target="../tags/tag191.xml"/><Relationship Id="rId12" Type="http://schemas.openxmlformats.org/officeDocument/2006/relationships/tags" Target="../tags/tag196.xml"/><Relationship Id="rId17" Type="http://schemas.openxmlformats.org/officeDocument/2006/relationships/tags" Target="../tags/tag201.xml"/><Relationship Id="rId25" Type="http://schemas.openxmlformats.org/officeDocument/2006/relationships/tags" Target="../tags/tag209.xml"/><Relationship Id="rId33" Type="http://schemas.openxmlformats.org/officeDocument/2006/relationships/tags" Target="../tags/tag217.xml"/><Relationship Id="rId38" Type="http://schemas.openxmlformats.org/officeDocument/2006/relationships/tags" Target="../tags/tag222.xml"/><Relationship Id="rId46" Type="http://schemas.openxmlformats.org/officeDocument/2006/relationships/tags" Target="../tags/tag230.xml"/><Relationship Id="rId59" Type="http://schemas.openxmlformats.org/officeDocument/2006/relationships/slide" Target="slide13.xml"/><Relationship Id="rId2" Type="http://schemas.openxmlformats.org/officeDocument/2006/relationships/tags" Target="../tags/tag186.xml"/><Relationship Id="rId16" Type="http://schemas.openxmlformats.org/officeDocument/2006/relationships/tags" Target="../tags/tag200.xml"/><Relationship Id="rId20" Type="http://schemas.openxmlformats.org/officeDocument/2006/relationships/tags" Target="../tags/tag204.xml"/><Relationship Id="rId29" Type="http://schemas.openxmlformats.org/officeDocument/2006/relationships/tags" Target="../tags/tag213.xml"/><Relationship Id="rId41" Type="http://schemas.openxmlformats.org/officeDocument/2006/relationships/tags" Target="../tags/tag225.xml"/><Relationship Id="rId54" Type="http://schemas.openxmlformats.org/officeDocument/2006/relationships/slideLayout" Target="../slideLayouts/slideLayout152.xml"/><Relationship Id="rId1" Type="http://schemas.openxmlformats.org/officeDocument/2006/relationships/tags" Target="../tags/tag185.xml"/><Relationship Id="rId6" Type="http://schemas.openxmlformats.org/officeDocument/2006/relationships/tags" Target="../tags/tag190.xml"/><Relationship Id="rId11" Type="http://schemas.openxmlformats.org/officeDocument/2006/relationships/tags" Target="../tags/tag195.xml"/><Relationship Id="rId24" Type="http://schemas.openxmlformats.org/officeDocument/2006/relationships/tags" Target="../tags/tag208.xml"/><Relationship Id="rId32" Type="http://schemas.openxmlformats.org/officeDocument/2006/relationships/tags" Target="../tags/tag216.xml"/><Relationship Id="rId37" Type="http://schemas.openxmlformats.org/officeDocument/2006/relationships/tags" Target="../tags/tag221.xml"/><Relationship Id="rId40" Type="http://schemas.openxmlformats.org/officeDocument/2006/relationships/tags" Target="../tags/tag224.xml"/><Relationship Id="rId45" Type="http://schemas.openxmlformats.org/officeDocument/2006/relationships/tags" Target="../tags/tag229.xml"/><Relationship Id="rId53" Type="http://schemas.openxmlformats.org/officeDocument/2006/relationships/tags" Target="../tags/tag237.xml"/><Relationship Id="rId58" Type="http://schemas.openxmlformats.org/officeDocument/2006/relationships/chart" Target="../charts/chart4.xml"/><Relationship Id="rId5" Type="http://schemas.openxmlformats.org/officeDocument/2006/relationships/tags" Target="../tags/tag189.xml"/><Relationship Id="rId15" Type="http://schemas.openxmlformats.org/officeDocument/2006/relationships/tags" Target="../tags/tag199.xml"/><Relationship Id="rId23" Type="http://schemas.openxmlformats.org/officeDocument/2006/relationships/tags" Target="../tags/tag207.xml"/><Relationship Id="rId28" Type="http://schemas.openxmlformats.org/officeDocument/2006/relationships/tags" Target="../tags/tag212.xml"/><Relationship Id="rId36" Type="http://schemas.openxmlformats.org/officeDocument/2006/relationships/tags" Target="../tags/tag220.xml"/><Relationship Id="rId49" Type="http://schemas.openxmlformats.org/officeDocument/2006/relationships/tags" Target="../tags/tag233.xml"/><Relationship Id="rId57" Type="http://schemas.openxmlformats.org/officeDocument/2006/relationships/chart" Target="../charts/chart3.xml"/><Relationship Id="rId10" Type="http://schemas.openxmlformats.org/officeDocument/2006/relationships/tags" Target="../tags/tag194.xml"/><Relationship Id="rId19" Type="http://schemas.openxmlformats.org/officeDocument/2006/relationships/tags" Target="../tags/tag203.xml"/><Relationship Id="rId31" Type="http://schemas.openxmlformats.org/officeDocument/2006/relationships/tags" Target="../tags/tag215.xml"/><Relationship Id="rId44" Type="http://schemas.openxmlformats.org/officeDocument/2006/relationships/tags" Target="../tags/tag228.xml"/><Relationship Id="rId52" Type="http://schemas.openxmlformats.org/officeDocument/2006/relationships/tags" Target="../tags/tag236.xml"/><Relationship Id="rId4" Type="http://schemas.openxmlformats.org/officeDocument/2006/relationships/tags" Target="../tags/tag188.xml"/><Relationship Id="rId9" Type="http://schemas.openxmlformats.org/officeDocument/2006/relationships/tags" Target="../tags/tag193.xml"/><Relationship Id="rId14" Type="http://schemas.openxmlformats.org/officeDocument/2006/relationships/tags" Target="../tags/tag198.xml"/><Relationship Id="rId22" Type="http://schemas.openxmlformats.org/officeDocument/2006/relationships/tags" Target="../tags/tag206.xml"/><Relationship Id="rId27" Type="http://schemas.openxmlformats.org/officeDocument/2006/relationships/tags" Target="../tags/tag211.xml"/><Relationship Id="rId30" Type="http://schemas.openxmlformats.org/officeDocument/2006/relationships/tags" Target="../tags/tag214.xml"/><Relationship Id="rId35" Type="http://schemas.openxmlformats.org/officeDocument/2006/relationships/tags" Target="../tags/tag219.xml"/><Relationship Id="rId43" Type="http://schemas.openxmlformats.org/officeDocument/2006/relationships/tags" Target="../tags/tag227.xml"/><Relationship Id="rId48" Type="http://schemas.openxmlformats.org/officeDocument/2006/relationships/tags" Target="../tags/tag232.xml"/><Relationship Id="rId56" Type="http://schemas.openxmlformats.org/officeDocument/2006/relationships/image" Target="../media/image18.emf"/><Relationship Id="rId8" Type="http://schemas.openxmlformats.org/officeDocument/2006/relationships/tags" Target="../tags/tag192.xml"/><Relationship Id="rId51" Type="http://schemas.openxmlformats.org/officeDocument/2006/relationships/tags" Target="../tags/tag235.xml"/><Relationship Id="rId3" Type="http://schemas.openxmlformats.org/officeDocument/2006/relationships/tags" Target="../tags/tag187.xml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tags" Target="../tags/tag250.xml"/><Relationship Id="rId18" Type="http://schemas.openxmlformats.org/officeDocument/2006/relationships/tags" Target="../tags/tag255.xml"/><Relationship Id="rId26" Type="http://schemas.openxmlformats.org/officeDocument/2006/relationships/tags" Target="../tags/tag263.xml"/><Relationship Id="rId39" Type="http://schemas.openxmlformats.org/officeDocument/2006/relationships/tags" Target="../tags/tag276.xml"/><Relationship Id="rId21" Type="http://schemas.openxmlformats.org/officeDocument/2006/relationships/tags" Target="../tags/tag258.xml"/><Relationship Id="rId34" Type="http://schemas.openxmlformats.org/officeDocument/2006/relationships/tags" Target="../tags/tag271.xml"/><Relationship Id="rId42" Type="http://schemas.openxmlformats.org/officeDocument/2006/relationships/tags" Target="../tags/tag279.xml"/><Relationship Id="rId47" Type="http://schemas.openxmlformats.org/officeDocument/2006/relationships/tags" Target="../tags/tag284.xml"/><Relationship Id="rId50" Type="http://schemas.openxmlformats.org/officeDocument/2006/relationships/slideLayout" Target="../slideLayouts/slideLayout152.xml"/><Relationship Id="rId55" Type="http://schemas.openxmlformats.org/officeDocument/2006/relationships/slide" Target="slide32.xml"/><Relationship Id="rId7" Type="http://schemas.openxmlformats.org/officeDocument/2006/relationships/tags" Target="../tags/tag244.xml"/><Relationship Id="rId12" Type="http://schemas.openxmlformats.org/officeDocument/2006/relationships/tags" Target="../tags/tag249.xml"/><Relationship Id="rId17" Type="http://schemas.openxmlformats.org/officeDocument/2006/relationships/tags" Target="../tags/tag254.xml"/><Relationship Id="rId25" Type="http://schemas.openxmlformats.org/officeDocument/2006/relationships/tags" Target="../tags/tag262.xml"/><Relationship Id="rId33" Type="http://schemas.openxmlformats.org/officeDocument/2006/relationships/tags" Target="../tags/tag270.xml"/><Relationship Id="rId38" Type="http://schemas.openxmlformats.org/officeDocument/2006/relationships/tags" Target="../tags/tag275.xml"/><Relationship Id="rId46" Type="http://schemas.openxmlformats.org/officeDocument/2006/relationships/tags" Target="../tags/tag283.xml"/><Relationship Id="rId2" Type="http://schemas.openxmlformats.org/officeDocument/2006/relationships/tags" Target="../tags/tag239.xml"/><Relationship Id="rId16" Type="http://schemas.openxmlformats.org/officeDocument/2006/relationships/tags" Target="../tags/tag253.xml"/><Relationship Id="rId20" Type="http://schemas.openxmlformats.org/officeDocument/2006/relationships/tags" Target="../tags/tag257.xml"/><Relationship Id="rId29" Type="http://schemas.openxmlformats.org/officeDocument/2006/relationships/tags" Target="../tags/tag266.xml"/><Relationship Id="rId41" Type="http://schemas.openxmlformats.org/officeDocument/2006/relationships/tags" Target="../tags/tag278.xml"/><Relationship Id="rId54" Type="http://schemas.openxmlformats.org/officeDocument/2006/relationships/chart" Target="../charts/chart6.xml"/><Relationship Id="rId1" Type="http://schemas.openxmlformats.org/officeDocument/2006/relationships/tags" Target="../tags/tag238.xml"/><Relationship Id="rId6" Type="http://schemas.openxmlformats.org/officeDocument/2006/relationships/tags" Target="../tags/tag243.xml"/><Relationship Id="rId11" Type="http://schemas.openxmlformats.org/officeDocument/2006/relationships/tags" Target="../tags/tag248.xml"/><Relationship Id="rId24" Type="http://schemas.openxmlformats.org/officeDocument/2006/relationships/tags" Target="../tags/tag261.xml"/><Relationship Id="rId32" Type="http://schemas.openxmlformats.org/officeDocument/2006/relationships/tags" Target="../tags/tag269.xml"/><Relationship Id="rId37" Type="http://schemas.openxmlformats.org/officeDocument/2006/relationships/tags" Target="../tags/tag274.xml"/><Relationship Id="rId40" Type="http://schemas.openxmlformats.org/officeDocument/2006/relationships/tags" Target="../tags/tag277.xml"/><Relationship Id="rId45" Type="http://schemas.openxmlformats.org/officeDocument/2006/relationships/tags" Target="../tags/tag282.xml"/><Relationship Id="rId53" Type="http://schemas.openxmlformats.org/officeDocument/2006/relationships/chart" Target="../charts/chart5.xml"/><Relationship Id="rId5" Type="http://schemas.openxmlformats.org/officeDocument/2006/relationships/tags" Target="../tags/tag242.xml"/><Relationship Id="rId15" Type="http://schemas.openxmlformats.org/officeDocument/2006/relationships/tags" Target="../tags/tag252.xml"/><Relationship Id="rId23" Type="http://schemas.openxmlformats.org/officeDocument/2006/relationships/tags" Target="../tags/tag260.xml"/><Relationship Id="rId28" Type="http://schemas.openxmlformats.org/officeDocument/2006/relationships/tags" Target="../tags/tag265.xml"/><Relationship Id="rId36" Type="http://schemas.openxmlformats.org/officeDocument/2006/relationships/tags" Target="../tags/tag273.xml"/><Relationship Id="rId49" Type="http://schemas.openxmlformats.org/officeDocument/2006/relationships/tags" Target="../tags/tag286.xml"/><Relationship Id="rId10" Type="http://schemas.openxmlformats.org/officeDocument/2006/relationships/tags" Target="../tags/tag247.xml"/><Relationship Id="rId19" Type="http://schemas.openxmlformats.org/officeDocument/2006/relationships/tags" Target="../tags/tag256.xml"/><Relationship Id="rId31" Type="http://schemas.openxmlformats.org/officeDocument/2006/relationships/tags" Target="../tags/tag268.xml"/><Relationship Id="rId44" Type="http://schemas.openxmlformats.org/officeDocument/2006/relationships/tags" Target="../tags/tag281.xml"/><Relationship Id="rId52" Type="http://schemas.openxmlformats.org/officeDocument/2006/relationships/image" Target="../media/image18.emf"/><Relationship Id="rId4" Type="http://schemas.openxmlformats.org/officeDocument/2006/relationships/tags" Target="../tags/tag241.xml"/><Relationship Id="rId9" Type="http://schemas.openxmlformats.org/officeDocument/2006/relationships/tags" Target="../tags/tag246.xml"/><Relationship Id="rId14" Type="http://schemas.openxmlformats.org/officeDocument/2006/relationships/tags" Target="../tags/tag251.xml"/><Relationship Id="rId22" Type="http://schemas.openxmlformats.org/officeDocument/2006/relationships/tags" Target="../tags/tag259.xml"/><Relationship Id="rId27" Type="http://schemas.openxmlformats.org/officeDocument/2006/relationships/tags" Target="../tags/tag264.xml"/><Relationship Id="rId30" Type="http://schemas.openxmlformats.org/officeDocument/2006/relationships/tags" Target="../tags/tag267.xml"/><Relationship Id="rId35" Type="http://schemas.openxmlformats.org/officeDocument/2006/relationships/tags" Target="../tags/tag272.xml"/><Relationship Id="rId43" Type="http://schemas.openxmlformats.org/officeDocument/2006/relationships/tags" Target="../tags/tag280.xml"/><Relationship Id="rId48" Type="http://schemas.openxmlformats.org/officeDocument/2006/relationships/tags" Target="../tags/tag285.xml"/><Relationship Id="rId56" Type="http://schemas.openxmlformats.org/officeDocument/2006/relationships/slide" Target="slide13.xml"/><Relationship Id="rId8" Type="http://schemas.openxmlformats.org/officeDocument/2006/relationships/tags" Target="../tags/tag245.xml"/><Relationship Id="rId51" Type="http://schemas.openxmlformats.org/officeDocument/2006/relationships/oleObject" Target="../embeddings/oleObject33.bin"/><Relationship Id="rId3" Type="http://schemas.openxmlformats.org/officeDocument/2006/relationships/tags" Target="../tags/tag240.xml"/></Relationships>
</file>

<file path=ppt/slides/_rels/slide25.xml.rels><?xml version="1.0" encoding="UTF-8" standalone="yes"?>
<Relationships xmlns="http://schemas.openxmlformats.org/package/2006/relationships"><Relationship Id="rId13" Type="http://schemas.openxmlformats.org/officeDocument/2006/relationships/tags" Target="../tags/tag299.xml"/><Relationship Id="rId18" Type="http://schemas.openxmlformats.org/officeDocument/2006/relationships/tags" Target="../tags/tag304.xml"/><Relationship Id="rId26" Type="http://schemas.openxmlformats.org/officeDocument/2006/relationships/tags" Target="../tags/tag312.xml"/><Relationship Id="rId39" Type="http://schemas.openxmlformats.org/officeDocument/2006/relationships/tags" Target="../tags/tag325.xml"/><Relationship Id="rId21" Type="http://schemas.openxmlformats.org/officeDocument/2006/relationships/tags" Target="../tags/tag307.xml"/><Relationship Id="rId34" Type="http://schemas.openxmlformats.org/officeDocument/2006/relationships/tags" Target="../tags/tag320.xml"/><Relationship Id="rId42" Type="http://schemas.openxmlformats.org/officeDocument/2006/relationships/tags" Target="../tags/tag328.xml"/><Relationship Id="rId47" Type="http://schemas.openxmlformats.org/officeDocument/2006/relationships/tags" Target="../tags/tag333.xml"/><Relationship Id="rId50" Type="http://schemas.openxmlformats.org/officeDocument/2006/relationships/tags" Target="../tags/tag336.xml"/><Relationship Id="rId55" Type="http://schemas.openxmlformats.org/officeDocument/2006/relationships/tags" Target="../tags/tag341.xml"/><Relationship Id="rId63" Type="http://schemas.openxmlformats.org/officeDocument/2006/relationships/tags" Target="../tags/tag349.xml"/><Relationship Id="rId68" Type="http://schemas.openxmlformats.org/officeDocument/2006/relationships/tags" Target="../tags/tag354.xml"/><Relationship Id="rId76" Type="http://schemas.openxmlformats.org/officeDocument/2006/relationships/tags" Target="../tags/tag362.xml"/><Relationship Id="rId7" Type="http://schemas.openxmlformats.org/officeDocument/2006/relationships/tags" Target="../tags/tag293.xml"/><Relationship Id="rId71" Type="http://schemas.openxmlformats.org/officeDocument/2006/relationships/tags" Target="../tags/tag357.xml"/><Relationship Id="rId2" Type="http://schemas.openxmlformats.org/officeDocument/2006/relationships/tags" Target="../tags/tag288.xml"/><Relationship Id="rId16" Type="http://schemas.openxmlformats.org/officeDocument/2006/relationships/tags" Target="../tags/tag302.xml"/><Relationship Id="rId29" Type="http://schemas.openxmlformats.org/officeDocument/2006/relationships/tags" Target="../tags/tag315.xml"/><Relationship Id="rId11" Type="http://schemas.openxmlformats.org/officeDocument/2006/relationships/tags" Target="../tags/tag297.xml"/><Relationship Id="rId24" Type="http://schemas.openxmlformats.org/officeDocument/2006/relationships/tags" Target="../tags/tag310.xml"/><Relationship Id="rId32" Type="http://schemas.openxmlformats.org/officeDocument/2006/relationships/tags" Target="../tags/tag318.xml"/><Relationship Id="rId37" Type="http://schemas.openxmlformats.org/officeDocument/2006/relationships/tags" Target="../tags/tag323.xml"/><Relationship Id="rId40" Type="http://schemas.openxmlformats.org/officeDocument/2006/relationships/tags" Target="../tags/tag326.xml"/><Relationship Id="rId45" Type="http://schemas.openxmlformats.org/officeDocument/2006/relationships/tags" Target="../tags/tag331.xml"/><Relationship Id="rId53" Type="http://schemas.openxmlformats.org/officeDocument/2006/relationships/tags" Target="../tags/tag339.xml"/><Relationship Id="rId58" Type="http://schemas.openxmlformats.org/officeDocument/2006/relationships/tags" Target="../tags/tag344.xml"/><Relationship Id="rId66" Type="http://schemas.openxmlformats.org/officeDocument/2006/relationships/tags" Target="../tags/tag352.xml"/><Relationship Id="rId74" Type="http://schemas.openxmlformats.org/officeDocument/2006/relationships/tags" Target="../tags/tag360.xml"/><Relationship Id="rId79" Type="http://schemas.openxmlformats.org/officeDocument/2006/relationships/image" Target="../media/image18.emf"/><Relationship Id="rId5" Type="http://schemas.openxmlformats.org/officeDocument/2006/relationships/tags" Target="../tags/tag291.xml"/><Relationship Id="rId61" Type="http://schemas.openxmlformats.org/officeDocument/2006/relationships/tags" Target="../tags/tag347.xml"/><Relationship Id="rId82" Type="http://schemas.openxmlformats.org/officeDocument/2006/relationships/slide" Target="slide32.xml"/><Relationship Id="rId10" Type="http://schemas.openxmlformats.org/officeDocument/2006/relationships/tags" Target="../tags/tag296.xml"/><Relationship Id="rId19" Type="http://schemas.openxmlformats.org/officeDocument/2006/relationships/tags" Target="../tags/tag305.xml"/><Relationship Id="rId31" Type="http://schemas.openxmlformats.org/officeDocument/2006/relationships/tags" Target="../tags/tag317.xml"/><Relationship Id="rId44" Type="http://schemas.openxmlformats.org/officeDocument/2006/relationships/tags" Target="../tags/tag330.xml"/><Relationship Id="rId52" Type="http://schemas.openxmlformats.org/officeDocument/2006/relationships/tags" Target="../tags/tag338.xml"/><Relationship Id="rId60" Type="http://schemas.openxmlformats.org/officeDocument/2006/relationships/tags" Target="../tags/tag346.xml"/><Relationship Id="rId65" Type="http://schemas.openxmlformats.org/officeDocument/2006/relationships/tags" Target="../tags/tag351.xml"/><Relationship Id="rId73" Type="http://schemas.openxmlformats.org/officeDocument/2006/relationships/tags" Target="../tags/tag359.xml"/><Relationship Id="rId78" Type="http://schemas.openxmlformats.org/officeDocument/2006/relationships/oleObject" Target="../embeddings/oleObject34.bin"/><Relationship Id="rId81" Type="http://schemas.openxmlformats.org/officeDocument/2006/relationships/chart" Target="../charts/chart8.xml"/><Relationship Id="rId4" Type="http://schemas.openxmlformats.org/officeDocument/2006/relationships/tags" Target="../tags/tag290.xml"/><Relationship Id="rId9" Type="http://schemas.openxmlformats.org/officeDocument/2006/relationships/tags" Target="../tags/tag295.xml"/><Relationship Id="rId14" Type="http://schemas.openxmlformats.org/officeDocument/2006/relationships/tags" Target="../tags/tag300.xml"/><Relationship Id="rId22" Type="http://schemas.openxmlformats.org/officeDocument/2006/relationships/tags" Target="../tags/tag308.xml"/><Relationship Id="rId27" Type="http://schemas.openxmlformats.org/officeDocument/2006/relationships/tags" Target="../tags/tag313.xml"/><Relationship Id="rId30" Type="http://schemas.openxmlformats.org/officeDocument/2006/relationships/tags" Target="../tags/tag316.xml"/><Relationship Id="rId35" Type="http://schemas.openxmlformats.org/officeDocument/2006/relationships/tags" Target="../tags/tag321.xml"/><Relationship Id="rId43" Type="http://schemas.openxmlformats.org/officeDocument/2006/relationships/tags" Target="../tags/tag329.xml"/><Relationship Id="rId48" Type="http://schemas.openxmlformats.org/officeDocument/2006/relationships/tags" Target="../tags/tag334.xml"/><Relationship Id="rId56" Type="http://schemas.openxmlformats.org/officeDocument/2006/relationships/tags" Target="../tags/tag342.xml"/><Relationship Id="rId64" Type="http://schemas.openxmlformats.org/officeDocument/2006/relationships/tags" Target="../tags/tag350.xml"/><Relationship Id="rId69" Type="http://schemas.openxmlformats.org/officeDocument/2006/relationships/tags" Target="../tags/tag355.xml"/><Relationship Id="rId77" Type="http://schemas.openxmlformats.org/officeDocument/2006/relationships/slideLayout" Target="../slideLayouts/slideLayout152.xml"/><Relationship Id="rId8" Type="http://schemas.openxmlformats.org/officeDocument/2006/relationships/tags" Target="../tags/tag294.xml"/><Relationship Id="rId51" Type="http://schemas.openxmlformats.org/officeDocument/2006/relationships/tags" Target="../tags/tag337.xml"/><Relationship Id="rId72" Type="http://schemas.openxmlformats.org/officeDocument/2006/relationships/tags" Target="../tags/tag358.xml"/><Relationship Id="rId80" Type="http://schemas.openxmlformats.org/officeDocument/2006/relationships/chart" Target="../charts/chart7.xml"/><Relationship Id="rId3" Type="http://schemas.openxmlformats.org/officeDocument/2006/relationships/tags" Target="../tags/tag289.xml"/><Relationship Id="rId12" Type="http://schemas.openxmlformats.org/officeDocument/2006/relationships/tags" Target="../tags/tag298.xml"/><Relationship Id="rId17" Type="http://schemas.openxmlformats.org/officeDocument/2006/relationships/tags" Target="../tags/tag303.xml"/><Relationship Id="rId25" Type="http://schemas.openxmlformats.org/officeDocument/2006/relationships/tags" Target="../tags/tag311.xml"/><Relationship Id="rId33" Type="http://schemas.openxmlformats.org/officeDocument/2006/relationships/tags" Target="../tags/tag319.xml"/><Relationship Id="rId38" Type="http://schemas.openxmlformats.org/officeDocument/2006/relationships/tags" Target="../tags/tag324.xml"/><Relationship Id="rId46" Type="http://schemas.openxmlformats.org/officeDocument/2006/relationships/tags" Target="../tags/tag332.xml"/><Relationship Id="rId59" Type="http://schemas.openxmlformats.org/officeDocument/2006/relationships/tags" Target="../tags/tag345.xml"/><Relationship Id="rId67" Type="http://schemas.openxmlformats.org/officeDocument/2006/relationships/tags" Target="../tags/tag353.xml"/><Relationship Id="rId20" Type="http://schemas.openxmlformats.org/officeDocument/2006/relationships/tags" Target="../tags/tag306.xml"/><Relationship Id="rId41" Type="http://schemas.openxmlformats.org/officeDocument/2006/relationships/tags" Target="../tags/tag327.xml"/><Relationship Id="rId54" Type="http://schemas.openxmlformats.org/officeDocument/2006/relationships/tags" Target="../tags/tag340.xml"/><Relationship Id="rId62" Type="http://schemas.openxmlformats.org/officeDocument/2006/relationships/tags" Target="../tags/tag348.xml"/><Relationship Id="rId70" Type="http://schemas.openxmlformats.org/officeDocument/2006/relationships/tags" Target="../tags/tag356.xml"/><Relationship Id="rId75" Type="http://schemas.openxmlformats.org/officeDocument/2006/relationships/tags" Target="../tags/tag361.xml"/><Relationship Id="rId83" Type="http://schemas.openxmlformats.org/officeDocument/2006/relationships/slide" Target="slide13.xml"/><Relationship Id="rId1" Type="http://schemas.openxmlformats.org/officeDocument/2006/relationships/tags" Target="../tags/tag287.xml"/><Relationship Id="rId6" Type="http://schemas.openxmlformats.org/officeDocument/2006/relationships/tags" Target="../tags/tag292.xml"/><Relationship Id="rId15" Type="http://schemas.openxmlformats.org/officeDocument/2006/relationships/tags" Target="../tags/tag301.xml"/><Relationship Id="rId23" Type="http://schemas.openxmlformats.org/officeDocument/2006/relationships/tags" Target="../tags/tag309.xml"/><Relationship Id="rId28" Type="http://schemas.openxmlformats.org/officeDocument/2006/relationships/tags" Target="../tags/tag314.xml"/><Relationship Id="rId36" Type="http://schemas.openxmlformats.org/officeDocument/2006/relationships/tags" Target="../tags/tag322.xml"/><Relationship Id="rId49" Type="http://schemas.openxmlformats.org/officeDocument/2006/relationships/tags" Target="../tags/tag335.xml"/><Relationship Id="rId57" Type="http://schemas.openxmlformats.org/officeDocument/2006/relationships/tags" Target="../tags/tag34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slide" Target="slide9.xml"/><Relationship Id="rId1" Type="http://schemas.openxmlformats.org/officeDocument/2006/relationships/slideLayout" Target="../slideLayouts/slideLayout15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" Target="slide9.xml"/><Relationship Id="rId1" Type="http://schemas.openxmlformats.org/officeDocument/2006/relationships/slideLayout" Target="../slideLayouts/slideLayout15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" Target="slide9.xml"/><Relationship Id="rId1" Type="http://schemas.openxmlformats.org/officeDocument/2006/relationships/slideLayout" Target="../slideLayouts/slideLayout15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" Target="slide9.xml"/><Relationship Id="rId1" Type="http://schemas.openxmlformats.org/officeDocument/2006/relationships/slideLayout" Target="../slideLayouts/slideLayout15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2.xml"/><Relationship Id="rId4" Type="http://schemas.openxmlformats.org/officeDocument/2006/relationships/image" Target="../media/image23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emf"/><Relationship Id="rId3" Type="http://schemas.openxmlformats.org/officeDocument/2006/relationships/oleObject" Target="../embeddings/oleObject35.bin"/><Relationship Id="rId7" Type="http://schemas.openxmlformats.org/officeDocument/2006/relationships/image" Target="../media/image67.emf"/><Relationship Id="rId2" Type="http://schemas.openxmlformats.org/officeDocument/2006/relationships/slideLayout" Target="../slideLayouts/slideLayout152.xml"/><Relationship Id="rId1" Type="http://schemas.openxmlformats.org/officeDocument/2006/relationships/tags" Target="../tags/tag363.xml"/><Relationship Id="rId6" Type="http://schemas.openxmlformats.org/officeDocument/2006/relationships/image" Target="../media/image66.emf"/><Relationship Id="rId5" Type="http://schemas.openxmlformats.org/officeDocument/2006/relationships/image" Target="../media/image65.emf"/><Relationship Id="rId10" Type="http://schemas.openxmlformats.org/officeDocument/2006/relationships/slide" Target="slide5.xml"/><Relationship Id="rId4" Type="http://schemas.openxmlformats.org/officeDocument/2006/relationships/image" Target="../media/image18.emf"/><Relationship Id="rId9" Type="http://schemas.openxmlformats.org/officeDocument/2006/relationships/image" Target="../media/image57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slide" Target="slide6.xml"/><Relationship Id="rId1" Type="http://schemas.openxmlformats.org/officeDocument/2006/relationships/slideLayout" Target="../slideLayouts/slideLayout15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oleObject" Target="../embeddings/oleObject20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152.xml"/><Relationship Id="rId1" Type="http://schemas.openxmlformats.org/officeDocument/2006/relationships/tags" Target="../tags/tag171.xml"/><Relationship Id="rId6" Type="http://schemas.openxmlformats.org/officeDocument/2006/relationships/image" Target="../media/image26.png"/><Relationship Id="rId11" Type="http://schemas.openxmlformats.org/officeDocument/2006/relationships/slide" Target="slide34.xml"/><Relationship Id="rId5" Type="http://schemas.openxmlformats.org/officeDocument/2006/relationships/image" Target="../media/image25.png"/><Relationship Id="rId10" Type="http://schemas.openxmlformats.org/officeDocument/2006/relationships/slide" Target="slide35.xml"/><Relationship Id="rId4" Type="http://schemas.openxmlformats.org/officeDocument/2006/relationships/image" Target="../media/image18.emf"/><Relationship Id="rId9" Type="http://schemas.openxmlformats.org/officeDocument/2006/relationships/image" Target="../media/image29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35.xml"/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152.xml"/><Relationship Id="rId6" Type="http://schemas.openxmlformats.org/officeDocument/2006/relationships/image" Target="../media/image30.wmf"/><Relationship Id="rId5" Type="http://schemas.openxmlformats.org/officeDocument/2006/relationships/oleObject" Target="../embeddings/oleObject21.bin"/><Relationship Id="rId4" Type="http://schemas.openxmlformats.org/officeDocument/2006/relationships/slide" Target="slide3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wmf"/><Relationship Id="rId2" Type="http://schemas.openxmlformats.org/officeDocument/2006/relationships/oleObject" Target="../embeddings/oleObject21.bin"/><Relationship Id="rId1" Type="http://schemas.openxmlformats.org/officeDocument/2006/relationships/slideLayout" Target="../slideLayouts/slideLayout152.xml"/><Relationship Id="rId4" Type="http://schemas.openxmlformats.org/officeDocument/2006/relationships/image" Target="../media/image29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33.png"/><Relationship Id="rId12" Type="http://schemas.openxmlformats.org/officeDocument/2006/relationships/slide" Target="slide28.xml"/><Relationship Id="rId2" Type="http://schemas.openxmlformats.org/officeDocument/2006/relationships/slideLayout" Target="../slideLayouts/slideLayout152.xml"/><Relationship Id="rId1" Type="http://schemas.openxmlformats.org/officeDocument/2006/relationships/tags" Target="../tags/tag172.xml"/><Relationship Id="rId6" Type="http://schemas.openxmlformats.org/officeDocument/2006/relationships/image" Target="../media/image32.png"/><Relationship Id="rId11" Type="http://schemas.openxmlformats.org/officeDocument/2006/relationships/slide" Target="slide27.xml"/><Relationship Id="rId5" Type="http://schemas.openxmlformats.org/officeDocument/2006/relationships/image" Target="../media/image31.png"/><Relationship Id="rId10" Type="http://schemas.openxmlformats.org/officeDocument/2006/relationships/image" Target="../media/image35.png"/><Relationship Id="rId4" Type="http://schemas.openxmlformats.org/officeDocument/2006/relationships/image" Target="../media/image18.emf"/><Relationship Id="rId9" Type="http://schemas.openxmlformats.org/officeDocument/2006/relationships/slide" Target="slide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9A4FDE80-E12E-4968-969C-91100F1215C8}"/>
              </a:ext>
            </a:extLst>
          </p:cNvPr>
          <p:cNvGrpSpPr/>
          <p:nvPr/>
        </p:nvGrpSpPr>
        <p:grpSpPr>
          <a:xfrm>
            <a:off x="2962" y="-1210"/>
            <a:ext cx="12189038" cy="6858000"/>
            <a:chOff x="2962" y="0"/>
            <a:chExt cx="12189038" cy="685800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D31A5073-1833-4EA7-86DF-CC958ED49A5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62" y="0"/>
              <a:ext cx="12189038" cy="6858000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FCF3C8A4-93BE-4EB5-88BB-CACB42711CBD}"/>
                </a:ext>
              </a:extLst>
            </p:cNvPr>
            <p:cNvSpPr txBox="1"/>
            <p:nvPr/>
          </p:nvSpPr>
          <p:spPr>
            <a:xfrm>
              <a:off x="3200400" y="956930"/>
              <a:ext cx="5709684" cy="1010093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/>
            <a:p>
              <a:endParaRPr lang="en-US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7D37DC44-C645-C529-0BCC-011C735A4ADA}"/>
              </a:ext>
            </a:extLst>
          </p:cNvPr>
          <p:cNvSpPr txBox="1"/>
          <p:nvPr/>
        </p:nvSpPr>
        <p:spPr>
          <a:xfrm>
            <a:off x="7159702" y="3427790"/>
            <a:ext cx="407435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Imported Coal QA</a:t>
            </a:r>
          </a:p>
          <a:p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294318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B0D74D87-0F5A-62A3-6710-EA5D62E341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9354232"/>
              </p:ext>
            </p:extLst>
          </p:nvPr>
        </p:nvGraphicFramePr>
        <p:xfrm>
          <a:off x="184748" y="1480677"/>
          <a:ext cx="11224934" cy="2790792"/>
        </p:xfrm>
        <a:graphic>
          <a:graphicData uri="http://schemas.openxmlformats.org/drawingml/2006/table">
            <a:tbl>
              <a:tblPr/>
              <a:tblGrid>
                <a:gridCol w="1146612">
                  <a:extLst>
                    <a:ext uri="{9D8B030D-6E8A-4147-A177-3AD203B41FA5}">
                      <a16:colId xmlns:a16="http://schemas.microsoft.com/office/drawing/2014/main" val="1661209156"/>
                    </a:ext>
                  </a:extLst>
                </a:gridCol>
                <a:gridCol w="947201">
                  <a:extLst>
                    <a:ext uri="{9D8B030D-6E8A-4147-A177-3AD203B41FA5}">
                      <a16:colId xmlns:a16="http://schemas.microsoft.com/office/drawing/2014/main" val="1043444094"/>
                    </a:ext>
                  </a:extLst>
                </a:gridCol>
                <a:gridCol w="980436">
                  <a:extLst>
                    <a:ext uri="{9D8B030D-6E8A-4147-A177-3AD203B41FA5}">
                      <a16:colId xmlns:a16="http://schemas.microsoft.com/office/drawing/2014/main" val="1141436712"/>
                    </a:ext>
                  </a:extLst>
                </a:gridCol>
                <a:gridCol w="390512">
                  <a:extLst>
                    <a:ext uri="{9D8B030D-6E8A-4147-A177-3AD203B41FA5}">
                      <a16:colId xmlns:a16="http://schemas.microsoft.com/office/drawing/2014/main" val="1711546510"/>
                    </a:ext>
                  </a:extLst>
                </a:gridCol>
                <a:gridCol w="373895">
                  <a:extLst>
                    <a:ext uri="{9D8B030D-6E8A-4147-A177-3AD203B41FA5}">
                      <a16:colId xmlns:a16="http://schemas.microsoft.com/office/drawing/2014/main" val="944929688"/>
                    </a:ext>
                  </a:extLst>
                </a:gridCol>
                <a:gridCol w="373895">
                  <a:extLst>
                    <a:ext uri="{9D8B030D-6E8A-4147-A177-3AD203B41FA5}">
                      <a16:colId xmlns:a16="http://schemas.microsoft.com/office/drawing/2014/main" val="973452920"/>
                    </a:ext>
                  </a:extLst>
                </a:gridCol>
                <a:gridCol w="357053">
                  <a:extLst>
                    <a:ext uri="{9D8B030D-6E8A-4147-A177-3AD203B41FA5}">
                      <a16:colId xmlns:a16="http://schemas.microsoft.com/office/drawing/2014/main" val="622762226"/>
                    </a:ext>
                  </a:extLst>
                </a:gridCol>
                <a:gridCol w="473600">
                  <a:extLst>
                    <a:ext uri="{9D8B030D-6E8A-4147-A177-3AD203B41FA5}">
                      <a16:colId xmlns:a16="http://schemas.microsoft.com/office/drawing/2014/main" val="1096257315"/>
                    </a:ext>
                  </a:extLst>
                </a:gridCol>
                <a:gridCol w="390512">
                  <a:extLst>
                    <a:ext uri="{9D8B030D-6E8A-4147-A177-3AD203B41FA5}">
                      <a16:colId xmlns:a16="http://schemas.microsoft.com/office/drawing/2014/main" val="303883468"/>
                    </a:ext>
                  </a:extLst>
                </a:gridCol>
                <a:gridCol w="457216">
                  <a:extLst>
                    <a:ext uri="{9D8B030D-6E8A-4147-A177-3AD203B41FA5}">
                      <a16:colId xmlns:a16="http://schemas.microsoft.com/office/drawing/2014/main" val="695198690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8998262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1867202280"/>
                    </a:ext>
                  </a:extLst>
                </a:gridCol>
                <a:gridCol w="1198880">
                  <a:extLst>
                    <a:ext uri="{9D8B030D-6E8A-4147-A177-3AD203B41FA5}">
                      <a16:colId xmlns:a16="http://schemas.microsoft.com/office/drawing/2014/main" val="281815754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794024116"/>
                    </a:ext>
                  </a:extLst>
                </a:gridCol>
                <a:gridCol w="1198882">
                  <a:extLst>
                    <a:ext uri="{9D8B030D-6E8A-4147-A177-3AD203B41FA5}">
                      <a16:colId xmlns:a16="http://schemas.microsoft.com/office/drawing/2014/main" val="2406026332"/>
                    </a:ext>
                  </a:extLst>
                </a:gridCol>
              </a:tblGrid>
              <a:tr h="34884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ad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ke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 of Rake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 +-0.28 Cut off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 +-0.55 Cut off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kes outside+-0.2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kes outside+-0.5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mulative </a:t>
                      </a:r>
                    </a:p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 0.2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mulative </a:t>
                      </a:r>
                    </a:p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 0.5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3980794"/>
                  </a:ext>
                </a:extLst>
              </a:tr>
              <a:tr h="34884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SJ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SK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SM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MC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SJ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SK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SM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MC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9990984"/>
                  </a:ext>
                </a:extLst>
              </a:tr>
              <a:tr h="34884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DFOR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HCC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1231302"/>
                  </a:ext>
                </a:extLst>
              </a:tr>
              <a:tr h="34884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ONYELL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CC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7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7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101430"/>
                  </a:ext>
                </a:extLst>
              </a:tr>
              <a:tr h="34884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itrel sof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3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1833287"/>
                  </a:ext>
                </a:extLst>
              </a:tr>
              <a:tr h="34884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M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7799236"/>
                  </a:ext>
                </a:extLst>
              </a:tr>
              <a:tr h="34884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ELLINBAH PCI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CI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6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2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86823"/>
                  </a:ext>
                </a:extLst>
              </a:tr>
              <a:tr h="34884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Rake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1301598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757787C-850C-CA88-69D1-5081CB8EDC1D}"/>
              </a:ext>
            </a:extLst>
          </p:cNvPr>
          <p:cNvSpPr txBox="1"/>
          <p:nvPr/>
        </p:nvSpPr>
        <p:spPr>
          <a:xfrm>
            <a:off x="176456" y="4353442"/>
            <a:ext cx="11233226" cy="132343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The 5 coal grades have maximum data points available in last one year, selection of these grades done basis </a:t>
            </a:r>
          </a:p>
          <a:p>
            <a:pPr marL="742930" lvl="1" indent="-285750">
              <a:buFont typeface="Wingdings" panose="05000000000000000000" pitchFamily="2" charset="2"/>
              <a:buChar char="§"/>
            </a:pPr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Representation of each basket</a:t>
            </a:r>
          </a:p>
          <a:p>
            <a:pPr marL="742930" lvl="1" indent="-285750">
              <a:buFont typeface="Wingdings" panose="05000000000000000000" pitchFamily="2" charset="2"/>
              <a:buChar char="§"/>
            </a:pPr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Highest volume in the buck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At our proposed tolerance of +/-0.55 noise in the system gets reduced by 30%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775D04E-CDB9-9C7C-405A-C2F8B0D12B35}"/>
              </a:ext>
            </a:extLst>
          </p:cNvPr>
          <p:cNvSpPr/>
          <p:nvPr/>
        </p:nvSpPr>
        <p:spPr>
          <a:xfrm>
            <a:off x="145572" y="850544"/>
            <a:ext cx="8562493" cy="45276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Case B: Comparison of deviations with </a:t>
            </a:r>
            <a:r>
              <a:rPr lang="en-US" sz="1600" b="1">
                <a:solidFill>
                  <a:srgbClr val="000000"/>
                </a:solidFill>
                <a:latin typeface="Arial Narrow" panose="020B0606020202030204" pitchFamily="34" charset="0"/>
                <a:cs typeface="Arial"/>
              </a:rPr>
              <a:t>current &amp;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 proposed set </a:t>
            </a:r>
            <a:r>
              <a:rPr lang="en-US" sz="1600" b="1">
                <a:solidFill>
                  <a:srgbClr val="000000"/>
                </a:solidFill>
                <a:latin typeface="Arial Narrow" panose="020B0606020202030204" pitchFamily="34" charset="0"/>
                <a:cs typeface="Arial"/>
              </a:rPr>
              <a:t>point for different grades of coal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1EF8BA1-05A7-AF4D-1E45-4293EB554390}"/>
              </a:ext>
            </a:extLst>
          </p:cNvPr>
          <p:cNvSpPr txBox="1"/>
          <p:nvPr/>
        </p:nvSpPr>
        <p:spPr>
          <a:xfrm>
            <a:off x="0" y="203200"/>
            <a:ext cx="121102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ison study of Imported Coal Ash tolerance- For other grades of coal          </a:t>
            </a: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March’23-April’24	</a:t>
            </a:r>
          </a:p>
        </p:txBody>
      </p:sp>
    </p:spTree>
    <p:extLst>
      <p:ext uri="{BB962C8B-B14F-4D97-AF65-F5344CB8AC3E}">
        <p14:creationId xmlns:p14="http://schemas.microsoft.com/office/powerpoint/2010/main" val="36350349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DF882369-D114-E9AC-55B0-C8D3EED85E9A}"/>
              </a:ext>
            </a:extLst>
          </p:cNvPr>
          <p:cNvSpPr txBox="1"/>
          <p:nvPr/>
        </p:nvSpPr>
        <p:spPr>
          <a:xfrm>
            <a:off x="250256" y="199274"/>
            <a:ext cx="114528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 chart for all grades difference in reporting at plant sites vs LP ash%</a:t>
            </a: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854BBCE-91B1-05B5-B420-B2F9B7BA1C68}"/>
              </a:ext>
            </a:extLst>
          </p:cNvPr>
          <p:cNvSpPr txBox="1"/>
          <p:nvPr/>
        </p:nvSpPr>
        <p:spPr>
          <a:xfrm>
            <a:off x="1579169" y="698332"/>
            <a:ext cx="3414487" cy="338554"/>
          </a:xfrm>
          <a:prstGeom prst="rect">
            <a:avLst/>
          </a:prstGeom>
          <a:solidFill>
            <a:srgbClr val="F2F2F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1600"/>
              <a:t>TSJ - 103 rakes; Oct-23 to Dec-23</a:t>
            </a: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8DEDEB54-83B3-4009-9BA2-A526068C310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59871747"/>
              </p:ext>
            </p:extLst>
          </p:nvPr>
        </p:nvGraphicFramePr>
        <p:xfrm>
          <a:off x="344496" y="1084157"/>
          <a:ext cx="5883835" cy="44128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Graph" r:id="rId2" imgW="5943600" imgH="4457880" progId="STATISTICA.Graph">
                  <p:embed/>
                </p:oleObj>
              </mc:Choice>
              <mc:Fallback>
                <p:oleObj name="Graph" r:id="rId2" imgW="5943600" imgH="4457880" progId="STATISTICA.Graph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8DEDEB54-83B3-4009-9BA2-A526068C31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344496" y="1084157"/>
                        <a:ext cx="5883835" cy="4412876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7C0508BA-BE97-CE62-E7D0-79E338DF364B}"/>
              </a:ext>
            </a:extLst>
          </p:cNvPr>
          <p:cNvSpPr txBox="1"/>
          <p:nvPr/>
        </p:nvSpPr>
        <p:spPr>
          <a:xfrm>
            <a:off x="7739017" y="739174"/>
            <a:ext cx="3414487" cy="338554"/>
          </a:xfrm>
          <a:prstGeom prst="rect">
            <a:avLst/>
          </a:prstGeom>
          <a:solidFill>
            <a:srgbClr val="F2F2F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1600"/>
              <a:t>TSJ - 144 rakes; Feb-24 to May-24</a:t>
            </a:r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A8FC3F04-DABC-15EC-8E3E-C2B49B99CCF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37722008"/>
              </p:ext>
            </p:extLst>
          </p:nvPr>
        </p:nvGraphicFramePr>
        <p:xfrm>
          <a:off x="6228330" y="1064041"/>
          <a:ext cx="5883833" cy="44128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Graph" r:id="rId4" imgW="5943600" imgH="4457880" progId="STATISTICA.Graph">
                  <p:embed/>
                </p:oleObj>
              </mc:Choice>
              <mc:Fallback>
                <p:oleObj name="Graph" r:id="rId4" imgW="5943600" imgH="4457880" progId="STATISTICA.Graph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A8FC3F04-DABC-15EC-8E3E-C2B49B99CC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228330" y="1064041"/>
                        <a:ext cx="5883833" cy="4412876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D9DB9596-C854-37E6-4754-2F46942AF07A}"/>
              </a:ext>
            </a:extLst>
          </p:cNvPr>
          <p:cNvCxnSpPr/>
          <p:nvPr/>
        </p:nvCxnSpPr>
        <p:spPr>
          <a:xfrm>
            <a:off x="4701329" y="5793958"/>
            <a:ext cx="2217682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CA90ABC2-0065-1705-486A-3FFC2BD0663A}"/>
              </a:ext>
            </a:extLst>
          </p:cNvPr>
          <p:cNvSpPr txBox="1"/>
          <p:nvPr/>
        </p:nvSpPr>
        <p:spPr>
          <a:xfrm>
            <a:off x="344496" y="6005779"/>
            <a:ext cx="117676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>
                <a:latin typeface="Arial" panose="020B0604020202020204" pitchFamily="34" charset="0"/>
                <a:cs typeface="Arial" panose="020B0604020202020204" pitchFamily="34" charset="0"/>
              </a:rPr>
              <a:t>From  Feb’24 onwards the sample preparation process was mechanized at TSJ which shows the bias in ash analysis has been reduced.</a:t>
            </a:r>
          </a:p>
          <a:p>
            <a:r>
              <a:rPr lang="en-IN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8BCB16C-16D4-3F29-879E-F1F262EDC86B}"/>
              </a:ext>
            </a:extLst>
          </p:cNvPr>
          <p:cNvSpPr txBox="1"/>
          <p:nvPr/>
        </p:nvSpPr>
        <p:spPr>
          <a:xfrm>
            <a:off x="3135068" y="5632138"/>
            <a:ext cx="1468830" cy="307777"/>
          </a:xfrm>
          <a:prstGeom prst="rect">
            <a:avLst/>
          </a:prstGeom>
          <a:solidFill>
            <a:srgbClr val="F2F2F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1400">
                <a:latin typeface="Arial" panose="020B0604020202020204" pitchFamily="34" charset="0"/>
                <a:cs typeface="Arial" panose="020B0604020202020204" pitchFamily="34" charset="0"/>
              </a:rPr>
              <a:t>Earlier proces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E5F45CF-FCEE-BB2B-3354-5AB83AB749BC}"/>
              </a:ext>
            </a:extLst>
          </p:cNvPr>
          <p:cNvSpPr txBox="1"/>
          <p:nvPr/>
        </p:nvSpPr>
        <p:spPr>
          <a:xfrm>
            <a:off x="7016442" y="5637965"/>
            <a:ext cx="5095722" cy="307777"/>
          </a:xfrm>
          <a:prstGeom prst="rect">
            <a:avLst/>
          </a:prstGeom>
          <a:solidFill>
            <a:srgbClr val="F2F2F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1400">
                <a:latin typeface="Arial" panose="020B0604020202020204" pitchFamily="34" charset="0"/>
                <a:cs typeface="Arial" panose="020B0604020202020204" pitchFamily="34" charset="0"/>
              </a:rPr>
              <a:t>After Implementing mechanized process for coal crushing</a:t>
            </a:r>
          </a:p>
        </p:txBody>
      </p:sp>
    </p:spTree>
    <p:extLst>
      <p:ext uri="{BB962C8B-B14F-4D97-AF65-F5344CB8AC3E}">
        <p14:creationId xmlns:p14="http://schemas.microsoft.com/office/powerpoint/2010/main" val="21272893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>
            <a:extLst>
              <a:ext uri="{FF2B5EF4-FFF2-40B4-BE49-F238E27FC236}">
                <a16:creationId xmlns:a16="http://schemas.microsoft.com/office/drawing/2014/main" id="{06B0AEB5-71CE-FC8A-E9EB-E4DB483BE82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43419422"/>
              </p:ext>
            </p:extLst>
          </p:nvPr>
        </p:nvGraphicFramePr>
        <p:xfrm>
          <a:off x="335280" y="761682"/>
          <a:ext cx="9715500" cy="5893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Graph" r:id="rId2" imgW="5943600" imgH="4457880" progId="STATISTICA.Graph">
                  <p:embed/>
                </p:oleObj>
              </mc:Choice>
              <mc:Fallback>
                <p:oleObj name="Graph" r:id="rId2" imgW="5943600" imgH="4457880" progId="STATISTICA.Graph">
                  <p:embed/>
                  <p:pic>
                    <p:nvPicPr>
                      <p:cNvPr id="13" name="Object 12">
                        <a:extLst>
                          <a:ext uri="{FF2B5EF4-FFF2-40B4-BE49-F238E27FC236}">
                            <a16:creationId xmlns:a16="http://schemas.microsoft.com/office/drawing/2014/main" id="{06B0AEB5-71CE-FC8A-E9EB-E4DB483BE8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335280" y="761682"/>
                        <a:ext cx="9715500" cy="5893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DF882369-D114-E9AC-55B0-C8D3EED85E9A}"/>
              </a:ext>
            </a:extLst>
          </p:cNvPr>
          <p:cNvSpPr txBox="1"/>
          <p:nvPr/>
        </p:nvSpPr>
        <p:spPr>
          <a:xfrm>
            <a:off x="223520" y="203200"/>
            <a:ext cx="118867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 chart for Jellinbah PCI difference in reporting at TSM vs LP ash%-</a:t>
            </a: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  March’23-April’24	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854BBCE-91B1-05B5-B420-B2F9B7BA1C68}"/>
              </a:ext>
            </a:extLst>
          </p:cNvPr>
          <p:cNvSpPr txBox="1"/>
          <p:nvPr/>
        </p:nvSpPr>
        <p:spPr>
          <a:xfrm>
            <a:off x="335280" y="711032"/>
            <a:ext cx="1706880" cy="338554"/>
          </a:xfrm>
          <a:prstGeom prst="rect">
            <a:avLst/>
          </a:prstGeom>
          <a:solidFill>
            <a:srgbClr val="F2F2F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1600"/>
              <a:t>TSM- 57 rake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EF64107-E573-9836-4FF3-C92A55818458}"/>
              </a:ext>
            </a:extLst>
          </p:cNvPr>
          <p:cNvCxnSpPr>
            <a:cxnSpLocks/>
            <a:endCxn id="28" idx="1"/>
          </p:cNvCxnSpPr>
          <p:nvPr/>
        </p:nvCxnSpPr>
        <p:spPr>
          <a:xfrm flipV="1">
            <a:off x="962660" y="2070418"/>
            <a:ext cx="9822180" cy="65874"/>
          </a:xfrm>
          <a:prstGeom prst="line">
            <a:avLst/>
          </a:prstGeom>
          <a:ln w="19050">
            <a:solidFill>
              <a:srgbClr val="92D05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2F07642-4464-C226-2DC2-5C5E6C8B09BE}"/>
              </a:ext>
            </a:extLst>
          </p:cNvPr>
          <p:cNvCxnSpPr>
            <a:cxnSpLocks/>
            <a:endCxn id="29" idx="1"/>
          </p:cNvCxnSpPr>
          <p:nvPr/>
        </p:nvCxnSpPr>
        <p:spPr>
          <a:xfrm>
            <a:off x="962660" y="2734691"/>
            <a:ext cx="9822180" cy="51790"/>
          </a:xfrm>
          <a:prstGeom prst="line">
            <a:avLst/>
          </a:prstGeom>
          <a:ln w="19050">
            <a:solidFill>
              <a:srgbClr val="92D05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41D62A14-84E0-22D3-8CCC-93B24EF2735E}"/>
              </a:ext>
            </a:extLst>
          </p:cNvPr>
          <p:cNvSpPr txBox="1"/>
          <p:nvPr/>
        </p:nvSpPr>
        <p:spPr>
          <a:xfrm>
            <a:off x="10784840" y="1931918"/>
            <a:ext cx="5791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b="1"/>
              <a:t>+0.55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E76EA83-F5F5-767F-4AD3-16FC4B42A1E5}"/>
              </a:ext>
            </a:extLst>
          </p:cNvPr>
          <p:cNvSpPr txBox="1"/>
          <p:nvPr/>
        </p:nvSpPr>
        <p:spPr>
          <a:xfrm>
            <a:off x="10784840" y="2647988"/>
            <a:ext cx="508000" cy="276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b="1"/>
              <a:t>-0.55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F12D42A0-F1FB-99B0-187A-E139D7735AE3}"/>
              </a:ext>
            </a:extLst>
          </p:cNvPr>
          <p:cNvCxnSpPr>
            <a:cxnSpLocks/>
            <a:endCxn id="32" idx="1"/>
          </p:cNvCxnSpPr>
          <p:nvPr/>
        </p:nvCxnSpPr>
        <p:spPr>
          <a:xfrm>
            <a:off x="962660" y="2274792"/>
            <a:ext cx="8991600" cy="0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92ADFAA-A004-863E-3427-F737F4E44118}"/>
              </a:ext>
            </a:extLst>
          </p:cNvPr>
          <p:cNvCxnSpPr>
            <a:cxnSpLocks/>
            <a:endCxn id="35" idx="1"/>
          </p:cNvCxnSpPr>
          <p:nvPr/>
        </p:nvCxnSpPr>
        <p:spPr>
          <a:xfrm>
            <a:off x="962660" y="2596192"/>
            <a:ext cx="8991600" cy="0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B519F474-AF8B-8DF3-7B1D-992AE94A7B2E}"/>
              </a:ext>
            </a:extLst>
          </p:cNvPr>
          <p:cNvSpPr txBox="1"/>
          <p:nvPr/>
        </p:nvSpPr>
        <p:spPr>
          <a:xfrm>
            <a:off x="9954260" y="2136292"/>
            <a:ext cx="20015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b="1"/>
              <a:t>+0.28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F7EC2C7-D10B-FCD7-9831-2EE09FFEC482}"/>
              </a:ext>
            </a:extLst>
          </p:cNvPr>
          <p:cNvSpPr txBox="1"/>
          <p:nvPr/>
        </p:nvSpPr>
        <p:spPr>
          <a:xfrm>
            <a:off x="9954260" y="2457692"/>
            <a:ext cx="5791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b="1"/>
              <a:t> -0.28</a:t>
            </a:r>
          </a:p>
        </p:txBody>
      </p:sp>
      <p:sp>
        <p:nvSpPr>
          <p:cNvPr id="3" name="Right Brace 2">
            <a:extLst>
              <a:ext uri="{FF2B5EF4-FFF2-40B4-BE49-F238E27FC236}">
                <a16:creationId xmlns:a16="http://schemas.microsoft.com/office/drawing/2014/main" id="{EE02FB75-FB7E-82F2-144E-44040814B3B7}"/>
              </a:ext>
            </a:extLst>
          </p:cNvPr>
          <p:cNvSpPr/>
          <p:nvPr/>
        </p:nvSpPr>
        <p:spPr>
          <a:xfrm>
            <a:off x="10516870" y="2192769"/>
            <a:ext cx="55880" cy="46841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Right Brace 3">
            <a:extLst>
              <a:ext uri="{FF2B5EF4-FFF2-40B4-BE49-F238E27FC236}">
                <a16:creationId xmlns:a16="http://schemas.microsoft.com/office/drawing/2014/main" id="{8DED5B6E-D1BC-0FED-FE26-4F4E1CDD7D67}"/>
              </a:ext>
            </a:extLst>
          </p:cNvPr>
          <p:cNvSpPr/>
          <p:nvPr/>
        </p:nvSpPr>
        <p:spPr>
          <a:xfrm>
            <a:off x="11322685" y="1986959"/>
            <a:ext cx="151130" cy="89241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E98432A-1818-1014-0315-A805071F1BA9}"/>
              </a:ext>
            </a:extLst>
          </p:cNvPr>
          <p:cNvSpPr txBox="1"/>
          <p:nvPr/>
        </p:nvSpPr>
        <p:spPr>
          <a:xfrm>
            <a:off x="10258564" y="3814525"/>
            <a:ext cx="1851660" cy="92333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Values above+/- 0.55 area the assignable causes </a:t>
            </a:r>
          </a:p>
          <a:p>
            <a:endParaRPr lang="en-IN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906DFC7-1AF0-75CE-738E-9BEFF6017089}"/>
              </a:ext>
            </a:extLst>
          </p:cNvPr>
          <p:cNvSpPr/>
          <p:nvPr/>
        </p:nvSpPr>
        <p:spPr>
          <a:xfrm>
            <a:off x="3556000" y="1580484"/>
            <a:ext cx="5346700" cy="514101"/>
          </a:xfrm>
          <a:prstGeom prst="rect">
            <a:avLst/>
          </a:prstGeom>
          <a:noFill/>
          <a:ln>
            <a:solidFill>
              <a:srgbClr val="FF2929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170743B-983C-BDF4-1557-167525D9B4E5}"/>
              </a:ext>
            </a:extLst>
          </p:cNvPr>
          <p:cNvSpPr/>
          <p:nvPr/>
        </p:nvSpPr>
        <p:spPr>
          <a:xfrm>
            <a:off x="3556000" y="2799041"/>
            <a:ext cx="5346700" cy="514101"/>
          </a:xfrm>
          <a:prstGeom prst="rect">
            <a:avLst/>
          </a:prstGeom>
          <a:noFill/>
          <a:ln>
            <a:solidFill>
              <a:srgbClr val="FF2929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0FB7D863-4BC8-3548-223C-BAC9FD1307BA}"/>
              </a:ext>
            </a:extLst>
          </p:cNvPr>
          <p:cNvCxnSpPr>
            <a:cxnSpLocks/>
          </p:cNvCxnSpPr>
          <p:nvPr/>
        </p:nvCxnSpPr>
        <p:spPr>
          <a:xfrm>
            <a:off x="9001760" y="1912727"/>
            <a:ext cx="1478280" cy="17955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B954D58-5902-789A-4B9E-96CDE87E060C}"/>
              </a:ext>
            </a:extLst>
          </p:cNvPr>
          <p:cNvCxnSpPr>
            <a:cxnSpLocks/>
            <a:stCxn id="17" idx="3"/>
          </p:cNvCxnSpPr>
          <p:nvPr/>
        </p:nvCxnSpPr>
        <p:spPr>
          <a:xfrm>
            <a:off x="8902700" y="3056092"/>
            <a:ext cx="1577340" cy="6521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09540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21F0C6A7-F3AD-435A-9837-A83E095D8C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509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6" progId="TCLayout.ActiveDocument.1">
                  <p:embed/>
                </p:oleObj>
              </mc:Choice>
              <mc:Fallback>
                <p:oleObj name="think-cell Slide" r:id="rId13" imgW="395" imgH="396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F0C6A7-F3AD-435A-9837-A83E095D8C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66F94482-1735-31D6-6780-2DE83FB408A8}"/>
              </a:ext>
            </a:extLst>
          </p:cNvPr>
          <p:cNvSpPr txBox="1"/>
          <p:nvPr/>
        </p:nvSpPr>
        <p:spPr>
          <a:xfrm>
            <a:off x="223520" y="203200"/>
            <a:ext cx="1188670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 of Reporting Ash% - </a:t>
            </a:r>
            <a:r>
              <a:rPr lang="en-US" sz="2000" b="1" dirty="0" err="1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llinbah</a:t>
            </a:r>
            <a:r>
              <a:rPr lang="en-US" sz="2000" b="1" dirty="0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CI reported ash% comparison study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    March’23-April’24	</a:t>
            </a:r>
          </a:p>
        </p:txBody>
      </p:sp>
      <p:graphicFrame>
        <p:nvGraphicFramePr>
          <p:cNvPr id="117" name="Chart 116">
            <a:extLst>
              <a:ext uri="{FF2B5EF4-FFF2-40B4-BE49-F238E27FC236}">
                <a16:creationId xmlns:a16="http://schemas.microsoft.com/office/drawing/2014/main" id="{73F01D72-3729-03C9-D77E-0317FC961D0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2457150"/>
              </p:ext>
            </p:extLst>
          </p:nvPr>
        </p:nvGraphicFramePr>
        <p:xfrm>
          <a:off x="307975" y="674688"/>
          <a:ext cx="11356975" cy="2238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B488D63F-17DB-9979-FBA0-D47759B4B539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10406063" y="2257425"/>
            <a:ext cx="231775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57AB5BE0-D08B-4AFB-4BA6-A313A8356246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10406063" y="2520950"/>
            <a:ext cx="231775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0F42EC7A-CB62-81B5-5E61-912B79C00128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0698163" y="2159000"/>
            <a:ext cx="700088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498DEC4-0C5F-4808-9338-246B9CA43129}" type="datetime'''''''''''''''''''''''LP(''''A''''D''''B'''')'''''''''''''''''">
              <a:rPr lang="en-IN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LP(ADB)</a:t>
            </a:fld>
            <a:endParaRPr lang="en-IN" sz="140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D83CFB6-9D4E-11AB-793E-42B62618ADB3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698163" y="2422525"/>
            <a:ext cx="1293813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F9213EB-6885-4CB7-AC9B-69EC5FC603CC}" type="datetime'Al''l'' ''''''''Pl''a''n''t ''si''''t''e(D''B'')'''''''''">
              <a:rPr lang="en-IN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All Plant site(DB)</a:t>
            </a:fld>
            <a:endParaRPr lang="en-IN" sz="1400">
              <a:solidFill>
                <a:schemeClr val="tx1"/>
              </a:solidFill>
            </a:endParaRPr>
          </a:p>
        </p:txBody>
      </p:sp>
      <p:graphicFrame>
        <p:nvGraphicFramePr>
          <p:cNvPr id="119" name="Chart 118">
            <a:extLst>
              <a:ext uri="{FF2B5EF4-FFF2-40B4-BE49-F238E27FC236}">
                <a16:creationId xmlns:a16="http://schemas.microsoft.com/office/drawing/2014/main" id="{D3595A4A-5F31-B845-C86B-FB85B01A47B5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86827347"/>
              </p:ext>
            </p:extLst>
          </p:nvPr>
        </p:nvGraphicFramePr>
        <p:xfrm>
          <a:off x="307975" y="2714625"/>
          <a:ext cx="11356975" cy="2390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891915AB-EBC3-069D-0737-82F693852CC9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10406063" y="4449763"/>
            <a:ext cx="231775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7C23AAD7-4DC1-9DD3-078A-BD7FC692140C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10406063" y="4713288"/>
            <a:ext cx="231775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924183C3-DDD3-A6F6-B95A-75CFEA0CBC8E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10698163" y="4351338"/>
            <a:ext cx="57150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D025DCD-C20D-4E1F-BBE9-A841ECFF2F9E}" type="datetime'''''L''''''''''P''''(''''''''''''D''''''''''B'''''''''''')'">
              <a:rPr lang="en-IN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LP(DB)</a:t>
            </a:fld>
            <a:endParaRPr lang="en-IN" sz="1400">
              <a:solidFill>
                <a:schemeClr val="tx1"/>
              </a:solidFill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693912B0-016A-9E28-A97D-16842B8A991D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10698163" y="4614863"/>
            <a:ext cx="1293813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5345916-2FF7-4066-945D-FDCFBC01B61E}" type="datetime'''''''''''Al''''l P''l''''an''t ''s''''it''''''''''e(DB)'">
              <a:rPr lang="en-IN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All Plant site(DB)</a:t>
            </a:fld>
            <a:endParaRPr lang="en-IN" sz="1400">
              <a:solidFill>
                <a:schemeClr val="tx1"/>
              </a:solidFill>
            </a:endParaRPr>
          </a:p>
        </p:txBody>
      </p:sp>
      <p:graphicFrame>
        <p:nvGraphicFramePr>
          <p:cNvPr id="109" name="Table 109">
            <a:extLst>
              <a:ext uri="{FF2B5EF4-FFF2-40B4-BE49-F238E27FC236}">
                <a16:creationId xmlns:a16="http://schemas.microsoft.com/office/drawing/2014/main" id="{DA05FF85-5C7E-8631-BA2C-93A1D42C82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9039926"/>
              </p:ext>
            </p:extLst>
          </p:nvPr>
        </p:nvGraphicFramePr>
        <p:xfrm>
          <a:off x="4480560" y="2348548"/>
          <a:ext cx="3243196" cy="103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7893">
                  <a:extLst>
                    <a:ext uri="{9D8B030D-6E8A-4147-A177-3AD203B41FA5}">
                      <a16:colId xmlns:a16="http://schemas.microsoft.com/office/drawing/2014/main" val="368034030"/>
                    </a:ext>
                  </a:extLst>
                </a:gridCol>
                <a:gridCol w="1730693">
                  <a:extLst>
                    <a:ext uri="{9D8B030D-6E8A-4147-A177-3AD203B41FA5}">
                      <a16:colId xmlns:a16="http://schemas.microsoft.com/office/drawing/2014/main" val="3474811329"/>
                    </a:ext>
                  </a:extLst>
                </a:gridCol>
                <a:gridCol w="594610">
                  <a:extLst>
                    <a:ext uri="{9D8B030D-6E8A-4147-A177-3AD203B41FA5}">
                      <a16:colId xmlns:a16="http://schemas.microsoft.com/office/drawing/2014/main" val="1052012097"/>
                    </a:ext>
                  </a:extLst>
                </a:gridCol>
              </a:tblGrid>
              <a:tr h="259001">
                <a:tc>
                  <a:txBody>
                    <a:bodyPr/>
                    <a:lstStyle/>
                    <a:p>
                      <a:r>
                        <a:rPr lang="en-IN" sz="1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cation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ho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h%      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5922120"/>
                  </a:ext>
                </a:extLst>
              </a:tr>
              <a:tr h="259001"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ir Dry basi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3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2379304"/>
                  </a:ext>
                </a:extLst>
              </a:tr>
              <a:tr h="259001"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599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y basi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4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1521363"/>
                  </a:ext>
                </a:extLst>
              </a:tr>
              <a:tr h="259001"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nt sit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599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y basi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6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3448036"/>
                  </a:ext>
                </a:extLst>
              </a:tr>
            </a:tbl>
          </a:graphicData>
        </a:graphic>
      </p:graphicFrame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1292680F-AF3E-47B8-9DEF-380F7C75E812}"/>
              </a:ext>
            </a:extLst>
          </p:cNvPr>
          <p:cNvCxnSpPr/>
          <p:nvPr/>
        </p:nvCxnSpPr>
        <p:spPr>
          <a:xfrm>
            <a:off x="7640320" y="2682875"/>
            <a:ext cx="0" cy="3873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1" name="TextBox 120">
                <a:extLst>
                  <a:ext uri="{FF2B5EF4-FFF2-40B4-BE49-F238E27FC236}">
                    <a16:creationId xmlns:a16="http://schemas.microsoft.com/office/drawing/2014/main" id="{8399B230-520C-A7A8-854E-FDB87089491E}"/>
                  </a:ext>
                </a:extLst>
              </p:cNvPr>
              <p:cNvSpPr txBox="1"/>
              <p:nvPr/>
            </p:nvSpPr>
            <p:spPr>
              <a:xfrm>
                <a:off x="242570" y="5129214"/>
                <a:ext cx="11525250" cy="14269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IN" sz="1600">
                    <a:latin typeface="Arial" panose="020B0604020202020204" pitchFamily="34" charset="0"/>
                    <a:cs typeface="Arial" panose="020B0604020202020204" pitchFamily="34" charset="0"/>
                  </a:rPr>
                  <a:t>Currently LP is reporting in ‘Air dry basis’ (ADB) which is lower than ‘Dry basis’ (DB) by a factor of= (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GB" sz="16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GB" sz="160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00</m:t>
                        </m:r>
                      </m:num>
                      <m:den>
                        <m:r>
                          <a:rPr lang="en-GB" sz="160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00−</m:t>
                        </m:r>
                        <m:r>
                          <a:rPr lang="en-GB" sz="160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𝐼𝑀</m:t>
                        </m:r>
                      </m:den>
                    </m:f>
                  </m:oMath>
                </a14:m>
                <a:r>
                  <a:rPr lang="en-IN" sz="1600">
                    <a:latin typeface="Arial" panose="020B0604020202020204" pitchFamily="34" charset="0"/>
                    <a:cs typeface="Arial" panose="020B0604020202020204" pitchFamily="34" charset="0"/>
                  </a:rPr>
                  <a:t> )</a:t>
                </a:r>
                <a:r>
                  <a:rPr lang="en-IN" sz="1600">
                    <a:latin typeface="Arial" panose="020B0604020202020204" pitchFamily="34" charset="0"/>
                    <a:cs typeface="Arial" panose="020B0604020202020204" pitchFamily="34" charset="0"/>
                    <a:sym typeface="Wingdings" panose="05000000000000000000" pitchFamily="2" charset="2"/>
                  </a:rPr>
                  <a:t>~</a:t>
                </a:r>
                <a:r>
                  <a:rPr lang="en-IN" sz="160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IN" sz="1600" b="1">
                    <a:latin typeface="Arial" panose="020B0604020202020204" pitchFamily="34" charset="0"/>
                    <a:cs typeface="Arial" panose="020B0604020202020204" pitchFamily="34" charset="0"/>
                  </a:rPr>
                  <a:t>1.01</a:t>
                </a:r>
                <a:endParaRPr lang="en-IN" sz="160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IN" sz="160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IN" sz="1600">
                    <a:latin typeface="Arial" panose="020B0604020202020204" pitchFamily="34" charset="0"/>
                    <a:cs typeface="Arial" panose="020B0604020202020204" pitchFamily="34" charset="0"/>
                  </a:rPr>
                  <a:t>TSJ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IN" sz="1600">
                    <a:latin typeface="Arial" panose="020B0604020202020204" pitchFamily="34" charset="0"/>
                    <a:cs typeface="Arial" panose="020B0604020202020204" pitchFamily="34" charset="0"/>
                  </a:rPr>
                  <a:t>TSK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IN" sz="1600">
                    <a:latin typeface="Arial" panose="020B0604020202020204" pitchFamily="34" charset="0"/>
                    <a:cs typeface="Arial" panose="020B0604020202020204" pitchFamily="34" charset="0"/>
                  </a:rPr>
                  <a:t>TSM</a:t>
                </a:r>
              </a:p>
            </p:txBody>
          </p:sp>
        </mc:Choice>
        <mc:Fallback xmlns="">
          <p:sp>
            <p:nvSpPr>
              <p:cNvPr id="121" name="TextBox 120">
                <a:extLst>
                  <a:ext uri="{FF2B5EF4-FFF2-40B4-BE49-F238E27FC236}">
                    <a16:creationId xmlns:a16="http://schemas.microsoft.com/office/drawing/2014/main" id="{8399B230-520C-A7A8-854E-FDB87089491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2570" y="5129214"/>
                <a:ext cx="11525250" cy="1426929"/>
              </a:xfrm>
              <a:prstGeom prst="rect">
                <a:avLst/>
              </a:prstGeom>
              <a:blipFill>
                <a:blip r:embed="rId17"/>
                <a:stretch>
                  <a:fillRect l="-212" b="-4701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2" name="Action Button: Go Forward or Next 121">
            <a:hlinkClick r:id="rId18" action="ppaction://hlinksldjump" highlightClick="1"/>
            <a:extLst>
              <a:ext uri="{FF2B5EF4-FFF2-40B4-BE49-F238E27FC236}">
                <a16:creationId xmlns:a16="http://schemas.microsoft.com/office/drawing/2014/main" id="{A2DA82E4-7404-D357-15B9-2D770886B470}"/>
              </a:ext>
            </a:extLst>
          </p:cNvPr>
          <p:cNvSpPr/>
          <p:nvPr/>
        </p:nvSpPr>
        <p:spPr>
          <a:xfrm>
            <a:off x="1210995" y="5780060"/>
            <a:ext cx="233184" cy="196729"/>
          </a:xfrm>
          <a:prstGeom prst="actionButtonForwardNex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3" name="Action Button: Go Forward or Next 122">
            <a:hlinkClick r:id="rId19" action="ppaction://hlinksldjump" highlightClick="1"/>
            <a:extLst>
              <a:ext uri="{FF2B5EF4-FFF2-40B4-BE49-F238E27FC236}">
                <a16:creationId xmlns:a16="http://schemas.microsoft.com/office/drawing/2014/main" id="{1284C236-623C-CAB5-EC82-79E994C02C11}"/>
              </a:ext>
            </a:extLst>
          </p:cNvPr>
          <p:cNvSpPr/>
          <p:nvPr/>
        </p:nvSpPr>
        <p:spPr>
          <a:xfrm>
            <a:off x="1210995" y="6022370"/>
            <a:ext cx="233184" cy="196729"/>
          </a:xfrm>
          <a:prstGeom prst="actionButtonForwardNex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4" name="Action Button: Go Forward or Next 123">
            <a:hlinkClick r:id="rId20" action="ppaction://hlinksldjump" highlightClick="1"/>
            <a:extLst>
              <a:ext uri="{FF2B5EF4-FFF2-40B4-BE49-F238E27FC236}">
                <a16:creationId xmlns:a16="http://schemas.microsoft.com/office/drawing/2014/main" id="{A979CDDA-EC4D-246C-CA5A-1696DD25B40B}"/>
              </a:ext>
            </a:extLst>
          </p:cNvPr>
          <p:cNvSpPr/>
          <p:nvPr/>
        </p:nvSpPr>
        <p:spPr>
          <a:xfrm>
            <a:off x="1206420" y="6290410"/>
            <a:ext cx="233184" cy="196729"/>
          </a:xfrm>
          <a:prstGeom prst="actionButtonForwardNex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5C397A1B-3877-A628-9064-4500F079A51F}"/>
                  </a:ext>
                </a:extLst>
              </p:cNvPr>
              <p:cNvSpPr txBox="1"/>
              <p:nvPr/>
            </p:nvSpPr>
            <p:spPr>
              <a:xfrm>
                <a:off x="3464560" y="6126480"/>
                <a:ext cx="6319520" cy="4479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600">
                    <a:latin typeface="Arial" panose="020B0604020202020204" pitchFamily="34" charset="0"/>
                    <a:cs typeface="Arial" panose="020B0604020202020204" pitchFamily="34" charset="0"/>
                  </a:rPr>
                  <a:t>Dry basis= (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GB" sz="16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GB" sz="160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00</m:t>
                        </m:r>
                      </m:num>
                      <m:den>
                        <m:r>
                          <a:rPr lang="en-GB" sz="160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00−</m:t>
                        </m:r>
                        <m:r>
                          <a:rPr lang="en-GB" sz="160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𝐼𝑀</m:t>
                        </m:r>
                      </m:den>
                    </m:f>
                  </m:oMath>
                </a14:m>
                <a:r>
                  <a:rPr lang="en-IN" sz="1600">
                    <a:latin typeface="Arial" panose="020B0604020202020204" pitchFamily="34" charset="0"/>
                    <a:cs typeface="Arial" panose="020B0604020202020204" pitchFamily="34" charset="0"/>
                  </a:rPr>
                  <a:t> )* Air dry basis which will be on a higher side.</a:t>
                </a:r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5C397A1B-3877-A628-9064-4500F079A51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64560" y="6126480"/>
                <a:ext cx="6319520" cy="447943"/>
              </a:xfrm>
              <a:prstGeom prst="rect">
                <a:avLst/>
              </a:prstGeom>
              <a:blipFill>
                <a:blip r:embed="rId21"/>
                <a:stretch>
                  <a:fillRect l="-482" b="-4110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0016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C54B94E-BA4A-BE6B-9A8C-22DD104B11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520" y="855971"/>
            <a:ext cx="9838571" cy="553419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6E476B5-73F0-5972-A411-4A9F01A0E5CF}"/>
              </a:ext>
            </a:extLst>
          </p:cNvPr>
          <p:cNvSpPr txBox="1"/>
          <p:nvPr/>
        </p:nvSpPr>
        <p:spPr>
          <a:xfrm>
            <a:off x="223520" y="203200"/>
            <a:ext cx="118867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IRQA  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CE76337-849A-6D63-84AC-99ED21374649}"/>
              </a:ext>
            </a:extLst>
          </p:cNvPr>
          <p:cNvSpPr txBox="1"/>
          <p:nvPr/>
        </p:nvSpPr>
        <p:spPr>
          <a:xfrm>
            <a:off x="5901070" y="3819659"/>
            <a:ext cx="2763404" cy="328143"/>
          </a:xfrm>
          <a:prstGeom prst="rect">
            <a:avLst/>
          </a:prstGeom>
          <a:noFill/>
          <a:ln w="28575">
            <a:solidFill>
              <a:srgbClr val="FF2929"/>
            </a:solidFill>
            <a:prstDash val="dash"/>
          </a:ln>
        </p:spPr>
        <p:txBody>
          <a:bodyPr wrap="square" rtlCol="0">
            <a:spAutoFit/>
          </a:bodyPr>
          <a:lstStyle/>
          <a:p>
            <a:endParaRPr lang="en-IN" dirty="0"/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7ED57E88-975B-BD01-2B16-B780708FFD38}"/>
              </a:ext>
            </a:extLst>
          </p:cNvPr>
          <p:cNvCxnSpPr>
            <a:cxnSpLocks/>
            <a:endCxn id="19" idx="1"/>
          </p:cNvCxnSpPr>
          <p:nvPr/>
        </p:nvCxnSpPr>
        <p:spPr>
          <a:xfrm>
            <a:off x="8401158" y="3260954"/>
            <a:ext cx="1951440" cy="934429"/>
          </a:xfrm>
          <a:prstGeom prst="straightConnector1">
            <a:avLst/>
          </a:prstGeom>
          <a:ln w="28575">
            <a:solidFill>
              <a:srgbClr val="FF292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836E9C2D-8BF8-EA3D-4F0F-18D27CA448A6}"/>
              </a:ext>
            </a:extLst>
          </p:cNvPr>
          <p:cNvSpPr txBox="1"/>
          <p:nvPr/>
        </p:nvSpPr>
        <p:spPr>
          <a:xfrm>
            <a:off x="10352598" y="3810662"/>
            <a:ext cx="1757626" cy="76944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1100" dirty="0">
                <a:latin typeface="Arial" panose="020B0604020202020204" pitchFamily="34" charset="0"/>
                <a:cs typeface="Arial" panose="020B0604020202020204" pitchFamily="34" charset="0"/>
              </a:rPr>
              <a:t>If Difference exceeds 0.55 w.r.t LP complaint to be logged against responsible stakeholder </a:t>
            </a:r>
          </a:p>
        </p:txBody>
      </p:sp>
      <p:graphicFrame>
        <p:nvGraphicFramePr>
          <p:cNvPr id="24" name="Table 24">
            <a:extLst>
              <a:ext uri="{FF2B5EF4-FFF2-40B4-BE49-F238E27FC236}">
                <a16:creationId xmlns:a16="http://schemas.microsoft.com/office/drawing/2014/main" id="{7B0DF8BC-D791-6341-32C8-F4FB5D4E8D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2812493"/>
              </p:ext>
            </p:extLst>
          </p:nvPr>
        </p:nvGraphicFramePr>
        <p:xfrm>
          <a:off x="5327374" y="2710198"/>
          <a:ext cx="5400760" cy="5587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5095">
                  <a:extLst>
                    <a:ext uri="{9D8B030D-6E8A-4147-A177-3AD203B41FA5}">
                      <a16:colId xmlns:a16="http://schemas.microsoft.com/office/drawing/2014/main" val="461344225"/>
                    </a:ext>
                  </a:extLst>
                </a:gridCol>
                <a:gridCol w="675095">
                  <a:extLst>
                    <a:ext uri="{9D8B030D-6E8A-4147-A177-3AD203B41FA5}">
                      <a16:colId xmlns:a16="http://schemas.microsoft.com/office/drawing/2014/main" val="3370348830"/>
                    </a:ext>
                  </a:extLst>
                </a:gridCol>
                <a:gridCol w="675095">
                  <a:extLst>
                    <a:ext uri="{9D8B030D-6E8A-4147-A177-3AD203B41FA5}">
                      <a16:colId xmlns:a16="http://schemas.microsoft.com/office/drawing/2014/main" val="2535820201"/>
                    </a:ext>
                  </a:extLst>
                </a:gridCol>
                <a:gridCol w="675095">
                  <a:extLst>
                    <a:ext uri="{9D8B030D-6E8A-4147-A177-3AD203B41FA5}">
                      <a16:colId xmlns:a16="http://schemas.microsoft.com/office/drawing/2014/main" val="2095929583"/>
                    </a:ext>
                  </a:extLst>
                </a:gridCol>
                <a:gridCol w="675095">
                  <a:extLst>
                    <a:ext uri="{9D8B030D-6E8A-4147-A177-3AD203B41FA5}">
                      <a16:colId xmlns:a16="http://schemas.microsoft.com/office/drawing/2014/main" val="1822541078"/>
                    </a:ext>
                  </a:extLst>
                </a:gridCol>
                <a:gridCol w="675095">
                  <a:extLst>
                    <a:ext uri="{9D8B030D-6E8A-4147-A177-3AD203B41FA5}">
                      <a16:colId xmlns:a16="http://schemas.microsoft.com/office/drawing/2014/main" val="3463445342"/>
                    </a:ext>
                  </a:extLst>
                </a:gridCol>
                <a:gridCol w="675095">
                  <a:extLst>
                    <a:ext uri="{9D8B030D-6E8A-4147-A177-3AD203B41FA5}">
                      <a16:colId xmlns:a16="http://schemas.microsoft.com/office/drawing/2014/main" val="707891986"/>
                    </a:ext>
                  </a:extLst>
                </a:gridCol>
                <a:gridCol w="675095">
                  <a:extLst>
                    <a:ext uri="{9D8B030D-6E8A-4147-A177-3AD203B41FA5}">
                      <a16:colId xmlns:a16="http://schemas.microsoft.com/office/drawing/2014/main" val="2778068299"/>
                    </a:ext>
                  </a:extLst>
                </a:gridCol>
              </a:tblGrid>
              <a:tr h="279353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L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D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P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PI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DP-L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259954" rtl="0" eaLnBrk="1" latinLnBrk="0" hangingPunct="1"/>
                      <a:r>
                        <a:rPr lang="en-IN" sz="10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OR-L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259954" rtl="0" eaLnBrk="1" latinLnBrk="0" hangingPunct="1"/>
                      <a:r>
                        <a:rPr lang="en-IN" sz="10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IR-LP`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algn="ctr" defTabSz="259954" rtl="0" eaLnBrk="1" latinLnBrk="0" hangingPunct="1"/>
                      <a:r>
                        <a:rPr lang="en-IN" sz="10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Example Ca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7288664"/>
                  </a:ext>
                </a:extLst>
              </a:tr>
              <a:tr h="279353">
                <a:tc>
                  <a:txBody>
                    <a:bodyPr/>
                    <a:lstStyle/>
                    <a:p>
                      <a:pPr marL="0" algn="ctr" defTabSz="259954" rtl="0" eaLnBrk="1" latinLnBrk="0" hangingPunct="1"/>
                      <a:r>
                        <a:rPr lang="en-IN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.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259954" rtl="0" eaLnBrk="1" latinLnBrk="0" hangingPunct="1"/>
                      <a:r>
                        <a:rPr lang="en-IN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.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259954" rtl="0" eaLnBrk="1" latinLnBrk="0" hangingPunct="1"/>
                      <a:r>
                        <a:rPr lang="en-IN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.7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259954" rtl="0" eaLnBrk="1" latinLnBrk="0" hangingPunct="1"/>
                      <a:r>
                        <a:rPr lang="en-IN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.8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259954" rtl="0" eaLnBrk="1" latinLnBrk="0" hangingPunct="1"/>
                      <a:r>
                        <a:rPr lang="en-IN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259954" rtl="0" eaLnBrk="1" latinLnBrk="0" hangingPunct="1"/>
                      <a:r>
                        <a:rPr lang="en-IN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259954" rtl="0" eaLnBrk="1" latinLnBrk="0" hangingPunct="1"/>
                      <a:r>
                        <a:rPr lang="en-IN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53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259954" rtl="0" eaLnBrk="1" latinLnBrk="0" hangingPunct="1"/>
                      <a:endParaRPr lang="en-IN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4621864"/>
                  </a:ext>
                </a:extLst>
              </a:tr>
            </a:tbl>
          </a:graphicData>
        </a:graphic>
      </p:graphicFrame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44CE5521-5527-4406-56B5-42C576A929C5}"/>
              </a:ext>
            </a:extLst>
          </p:cNvPr>
          <p:cNvCxnSpPr>
            <a:cxnSpLocks/>
            <a:endCxn id="19" idx="1"/>
          </p:cNvCxnSpPr>
          <p:nvPr/>
        </p:nvCxnSpPr>
        <p:spPr>
          <a:xfrm>
            <a:off x="9712518" y="3253004"/>
            <a:ext cx="640080" cy="942379"/>
          </a:xfrm>
          <a:prstGeom prst="straightConnector1">
            <a:avLst/>
          </a:prstGeom>
          <a:ln w="28575">
            <a:solidFill>
              <a:srgbClr val="FF292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98FE0BE9-9233-9C40-2256-8EF497801DE3}"/>
              </a:ext>
            </a:extLst>
          </p:cNvPr>
          <p:cNvCxnSpPr>
            <a:cxnSpLocks/>
          </p:cNvCxnSpPr>
          <p:nvPr/>
        </p:nvCxnSpPr>
        <p:spPr>
          <a:xfrm>
            <a:off x="9072438" y="3268904"/>
            <a:ext cx="1280160" cy="918529"/>
          </a:xfrm>
          <a:prstGeom prst="straightConnector1">
            <a:avLst/>
          </a:prstGeom>
          <a:ln w="28575">
            <a:solidFill>
              <a:srgbClr val="FF292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56788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C38CD1FF-1351-329D-5DE0-283F6E4ABB0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8106"/>
            <a:ext cx="1051497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Aft>
                <a:spcPct val="6000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3000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─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3000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6500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500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500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500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500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3D7ED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laint Matrix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8D427C7E-6A2D-4F46-830F-C132078DA40B}"/>
              </a:ext>
            </a:extLst>
          </p:cNvPr>
          <p:cNvSpPr/>
          <p:nvPr/>
        </p:nvSpPr>
        <p:spPr>
          <a:xfrm>
            <a:off x="612259" y="1562842"/>
            <a:ext cx="10722903" cy="241017"/>
          </a:xfrm>
          <a:prstGeom prst="roundRect">
            <a:avLst/>
          </a:prstGeom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300" dirty="0">
                <a:latin typeface="Arial" panose="020B0604020202020204" pitchFamily="34" charset="0"/>
                <a:cs typeface="Arial" panose="020B0604020202020204" pitchFamily="34" charset="0"/>
              </a:rPr>
              <a:t>Support Functions : Strategic Procurement/RM Planning/Sc. Ser./PTG </a:t>
            </a:r>
          </a:p>
        </p:txBody>
      </p:sp>
      <p:pic>
        <p:nvPicPr>
          <p:cNvPr id="14" name="Graphic 13" descr="Tug boat with solid fill">
            <a:extLst>
              <a:ext uri="{FF2B5EF4-FFF2-40B4-BE49-F238E27FC236}">
                <a16:creationId xmlns:a16="http://schemas.microsoft.com/office/drawing/2014/main" id="{6E0BD439-B91D-1CF4-B19D-D337A43227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6837" y="640342"/>
            <a:ext cx="695775" cy="500422"/>
          </a:xfrm>
          <a:prstGeom prst="rect">
            <a:avLst/>
          </a:prstGeom>
        </p:spPr>
      </p:pic>
      <p:pic>
        <p:nvPicPr>
          <p:cNvPr id="15" name="Graphic 14" descr="Crane with solid fill">
            <a:extLst>
              <a:ext uri="{FF2B5EF4-FFF2-40B4-BE49-F238E27FC236}">
                <a16:creationId xmlns:a16="http://schemas.microsoft.com/office/drawing/2014/main" id="{980E13D6-E7C9-1EC6-ECFD-32B6C00B567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48167" y="640342"/>
            <a:ext cx="695775" cy="500422"/>
          </a:xfrm>
          <a:prstGeom prst="rect">
            <a:avLst/>
          </a:prstGeom>
        </p:spPr>
      </p:pic>
      <p:pic>
        <p:nvPicPr>
          <p:cNvPr id="16" name="Graphic 15" descr="Toy Train with solid fill">
            <a:extLst>
              <a:ext uri="{FF2B5EF4-FFF2-40B4-BE49-F238E27FC236}">
                <a16:creationId xmlns:a16="http://schemas.microsoft.com/office/drawing/2014/main" id="{FB8CF470-7AB6-31ED-FE37-AAAD67D9D89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77041" y="636619"/>
            <a:ext cx="702976" cy="505601"/>
          </a:xfrm>
          <a:prstGeom prst="rect">
            <a:avLst/>
          </a:prstGeom>
        </p:spPr>
      </p:pic>
      <p:pic>
        <p:nvPicPr>
          <p:cNvPr id="17" name="Graphic 16" descr="Production with solid fill">
            <a:extLst>
              <a:ext uri="{FF2B5EF4-FFF2-40B4-BE49-F238E27FC236}">
                <a16:creationId xmlns:a16="http://schemas.microsoft.com/office/drawing/2014/main" id="{9DB63518-A3A9-4A85-F93B-37BC246111A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668786" y="581182"/>
            <a:ext cx="810206" cy="582725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DE8E630C-1583-64AA-D81F-B33E28FB2994}"/>
              </a:ext>
            </a:extLst>
          </p:cNvPr>
          <p:cNvCxnSpPr>
            <a:cxnSpLocks/>
          </p:cNvCxnSpPr>
          <p:nvPr/>
        </p:nvCxnSpPr>
        <p:spPr>
          <a:xfrm>
            <a:off x="8002696" y="801739"/>
            <a:ext cx="1525179" cy="356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1BC71AA-AC14-FDF9-DF4C-B99F38644E2E}"/>
              </a:ext>
            </a:extLst>
          </p:cNvPr>
          <p:cNvCxnSpPr>
            <a:cxnSpLocks/>
          </p:cNvCxnSpPr>
          <p:nvPr/>
        </p:nvCxnSpPr>
        <p:spPr>
          <a:xfrm>
            <a:off x="1643091" y="805387"/>
            <a:ext cx="2334915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6C6D39A-B7FB-2C76-88F3-D6A61A92FC28}"/>
              </a:ext>
            </a:extLst>
          </p:cNvPr>
          <p:cNvCxnSpPr>
            <a:cxnSpLocks/>
          </p:cNvCxnSpPr>
          <p:nvPr/>
        </p:nvCxnSpPr>
        <p:spPr>
          <a:xfrm>
            <a:off x="4852998" y="800987"/>
            <a:ext cx="2095054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lowchart: Alternate Process 20">
            <a:extLst>
              <a:ext uri="{FF2B5EF4-FFF2-40B4-BE49-F238E27FC236}">
                <a16:creationId xmlns:a16="http://schemas.microsoft.com/office/drawing/2014/main" id="{39780F0E-8B6B-7AE6-D299-88FE6AD12564}"/>
              </a:ext>
            </a:extLst>
          </p:cNvPr>
          <p:cNvSpPr/>
          <p:nvPr/>
        </p:nvSpPr>
        <p:spPr>
          <a:xfrm>
            <a:off x="612259" y="1100967"/>
            <a:ext cx="2334915" cy="400110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latin typeface="Arial" panose="020B0604020202020204" pitchFamily="34" charset="0"/>
                <a:cs typeface="Arial" panose="020B0604020202020204" pitchFamily="34" charset="0"/>
              </a:rPr>
              <a:t>Coal Supplier + Strategic Procurement</a:t>
            </a:r>
          </a:p>
        </p:txBody>
      </p:sp>
      <p:sp>
        <p:nvSpPr>
          <p:cNvPr id="22" name="Flowchart: Alternate Process 21">
            <a:extLst>
              <a:ext uri="{FF2B5EF4-FFF2-40B4-BE49-F238E27FC236}">
                <a16:creationId xmlns:a16="http://schemas.microsoft.com/office/drawing/2014/main" id="{D9874488-49B2-2D7D-CF33-ABF2D3B45FE6}"/>
              </a:ext>
            </a:extLst>
          </p:cNvPr>
          <p:cNvSpPr/>
          <p:nvPr/>
        </p:nvSpPr>
        <p:spPr>
          <a:xfrm>
            <a:off x="3294795" y="1100968"/>
            <a:ext cx="1761314" cy="400109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b="0" i="0" u="none" strike="noStrike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ort Operations</a:t>
            </a:r>
          </a:p>
        </p:txBody>
      </p:sp>
      <p:sp>
        <p:nvSpPr>
          <p:cNvPr id="23" name="Flowchart: Alternate Process 22">
            <a:extLst>
              <a:ext uri="{FF2B5EF4-FFF2-40B4-BE49-F238E27FC236}">
                <a16:creationId xmlns:a16="http://schemas.microsoft.com/office/drawing/2014/main" id="{B3F41265-CEB4-A148-DEFC-D32FE1D9D07F}"/>
              </a:ext>
            </a:extLst>
          </p:cNvPr>
          <p:cNvSpPr/>
          <p:nvPr/>
        </p:nvSpPr>
        <p:spPr>
          <a:xfrm>
            <a:off x="5378788" y="1100967"/>
            <a:ext cx="1666090" cy="407317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il Logistics</a:t>
            </a:r>
          </a:p>
        </p:txBody>
      </p:sp>
      <p:sp>
        <p:nvSpPr>
          <p:cNvPr id="24" name="Flowchart: Alternate Process 23">
            <a:extLst>
              <a:ext uri="{FF2B5EF4-FFF2-40B4-BE49-F238E27FC236}">
                <a16:creationId xmlns:a16="http://schemas.microsoft.com/office/drawing/2014/main" id="{7D210999-1E63-AA1C-8779-53D5610B5374}"/>
              </a:ext>
            </a:extLst>
          </p:cNvPr>
          <p:cNvSpPr/>
          <p:nvPr/>
        </p:nvSpPr>
        <p:spPr>
          <a:xfrm>
            <a:off x="7472457" y="1100968"/>
            <a:ext cx="1805520" cy="407316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MM</a:t>
            </a:r>
          </a:p>
        </p:txBody>
      </p:sp>
      <p:sp>
        <p:nvSpPr>
          <p:cNvPr id="25" name="Flowchart: Alternate Process 24">
            <a:extLst>
              <a:ext uri="{FF2B5EF4-FFF2-40B4-BE49-F238E27FC236}">
                <a16:creationId xmlns:a16="http://schemas.microsoft.com/office/drawing/2014/main" id="{654D55E1-A6E5-F2C1-BEBA-1B054D12F958}"/>
              </a:ext>
            </a:extLst>
          </p:cNvPr>
          <p:cNvSpPr/>
          <p:nvPr/>
        </p:nvSpPr>
        <p:spPr>
          <a:xfrm>
            <a:off x="9566125" y="1100967"/>
            <a:ext cx="1769037" cy="407315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ke Plant Operation</a:t>
            </a:r>
          </a:p>
        </p:txBody>
      </p:sp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2C7DA621-7123-650B-BCB5-D0461A95C6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4497196"/>
              </p:ext>
            </p:extLst>
          </p:nvPr>
        </p:nvGraphicFramePr>
        <p:xfrm>
          <a:off x="192000" y="1952473"/>
          <a:ext cx="11808000" cy="4561460"/>
        </p:xfrm>
        <a:graphic>
          <a:graphicData uri="http://schemas.openxmlformats.org/drawingml/2006/table">
            <a:tbl>
              <a:tblPr/>
              <a:tblGrid>
                <a:gridCol w="1331392">
                  <a:extLst>
                    <a:ext uri="{9D8B030D-6E8A-4147-A177-3AD203B41FA5}">
                      <a16:colId xmlns:a16="http://schemas.microsoft.com/office/drawing/2014/main" val="725310749"/>
                    </a:ext>
                  </a:extLst>
                </a:gridCol>
                <a:gridCol w="781424">
                  <a:extLst>
                    <a:ext uri="{9D8B030D-6E8A-4147-A177-3AD203B41FA5}">
                      <a16:colId xmlns:a16="http://schemas.microsoft.com/office/drawing/2014/main" val="4172158994"/>
                    </a:ext>
                  </a:extLst>
                </a:gridCol>
                <a:gridCol w="1648001">
                  <a:extLst>
                    <a:ext uri="{9D8B030D-6E8A-4147-A177-3AD203B41FA5}">
                      <a16:colId xmlns:a16="http://schemas.microsoft.com/office/drawing/2014/main" val="2589095223"/>
                    </a:ext>
                  </a:extLst>
                </a:gridCol>
                <a:gridCol w="1101675">
                  <a:extLst>
                    <a:ext uri="{9D8B030D-6E8A-4147-A177-3AD203B41FA5}">
                      <a16:colId xmlns:a16="http://schemas.microsoft.com/office/drawing/2014/main" val="3654167896"/>
                    </a:ext>
                  </a:extLst>
                </a:gridCol>
                <a:gridCol w="959698">
                  <a:extLst>
                    <a:ext uri="{9D8B030D-6E8A-4147-A177-3AD203B41FA5}">
                      <a16:colId xmlns:a16="http://schemas.microsoft.com/office/drawing/2014/main" val="2092004677"/>
                    </a:ext>
                  </a:extLst>
                </a:gridCol>
                <a:gridCol w="836939">
                  <a:extLst>
                    <a:ext uri="{9D8B030D-6E8A-4147-A177-3AD203B41FA5}">
                      <a16:colId xmlns:a16="http://schemas.microsoft.com/office/drawing/2014/main" val="3604142800"/>
                    </a:ext>
                  </a:extLst>
                </a:gridCol>
                <a:gridCol w="1326060">
                  <a:extLst>
                    <a:ext uri="{9D8B030D-6E8A-4147-A177-3AD203B41FA5}">
                      <a16:colId xmlns:a16="http://schemas.microsoft.com/office/drawing/2014/main" val="3512585585"/>
                    </a:ext>
                  </a:extLst>
                </a:gridCol>
                <a:gridCol w="1760833">
                  <a:extLst>
                    <a:ext uri="{9D8B030D-6E8A-4147-A177-3AD203B41FA5}">
                      <a16:colId xmlns:a16="http://schemas.microsoft.com/office/drawing/2014/main" val="1752434517"/>
                    </a:ext>
                  </a:extLst>
                </a:gridCol>
                <a:gridCol w="2061978">
                  <a:extLst>
                    <a:ext uri="{9D8B030D-6E8A-4147-A177-3AD203B41FA5}">
                      <a16:colId xmlns:a16="http://schemas.microsoft.com/office/drawing/2014/main" val="567996630"/>
                    </a:ext>
                  </a:extLst>
                </a:gridCol>
              </a:tblGrid>
              <a:tr h="176204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pplie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r>
                        <a:rPr lang="en-IN" sz="2000" b="0" i="0" u="none" strike="noStrike" dirty="0">
                          <a:effectLst/>
                          <a:latin typeface="Calibri" panose="020F0502020204030204" pitchFamily="34" charset="0"/>
                        </a:rPr>
                        <a:t>Supplier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t Operation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t operation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il logistic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MM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599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1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MM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7633597"/>
                  </a:ext>
                </a:extLst>
              </a:tr>
              <a:tr h="176204">
                <a:tc>
                  <a:txBody>
                    <a:bodyPr/>
                    <a:lstStyle/>
                    <a:p>
                      <a:pPr algn="ctr" fontAlgn="b"/>
                      <a:endParaRPr lang="en-IN" sz="11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P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P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t Outgoing Rak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nt Incoming Rak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ponsible Stakeholde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bable caus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280458"/>
                  </a:ext>
                </a:extLst>
              </a:tr>
              <a:tr h="516786">
                <a:tc>
                  <a:txBody>
                    <a:bodyPr/>
                    <a:lstStyle/>
                    <a:p>
                      <a:pPr marL="0" marR="0" lvl="0" indent="0" algn="ctr" defTabSz="2599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enario-01</a:t>
                      </a:r>
                    </a:p>
                    <a:p>
                      <a:pPr algn="ctr" fontAlgn="b"/>
                      <a:endParaRPr lang="en-IN" sz="12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6 (Diff-0.6)</a:t>
                      </a:r>
                    </a:p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292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4 (Diff-0.6)</a:t>
                      </a:r>
                    </a:p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4 (Diff-0.4)</a:t>
                      </a:r>
                    </a:p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t Operation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599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x-up during transit or at port, wrong 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ing &amp; Measurements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7309078"/>
                  </a:ext>
                </a:extLst>
              </a:tr>
              <a:tr h="49727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enario-0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3 (Diff-0.3)</a:t>
                      </a:r>
                    </a:p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6 (Diff-0.6)</a:t>
                      </a:r>
                    </a:p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4 (Diff-0.4)</a:t>
                      </a:r>
                    </a:p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2599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t Operations</a:t>
                      </a:r>
                    </a:p>
                    <a:p>
                      <a:pPr algn="ctr" fontAlgn="b"/>
                      <a:endParaRPr lang="en-IN" sz="12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599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x-up at port, wrong 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ing &amp; Measurements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282317"/>
                  </a:ext>
                </a:extLst>
              </a:tr>
              <a:tr h="516786">
                <a:tc>
                  <a:txBody>
                    <a:bodyPr/>
                    <a:lstStyle/>
                    <a:p>
                      <a:pPr marL="0" marR="0" lvl="0" indent="0" algn="ctr" defTabSz="2599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enario-0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3 (Diff-0.3)</a:t>
                      </a:r>
                    </a:p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4 (Diff-0.4)</a:t>
                      </a:r>
                    </a:p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6 (Diff-0.6)</a:t>
                      </a:r>
                    </a:p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599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il logistics &amp; Scientific Service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599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x-up during transit by rail logistics, wrong 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ing &amp; Measurements at plant sites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5136331"/>
                  </a:ext>
                </a:extLst>
              </a:tr>
              <a:tr h="497273">
                <a:tc>
                  <a:txBody>
                    <a:bodyPr/>
                    <a:lstStyle/>
                    <a:p>
                      <a:pPr marL="0" marR="0" lvl="0" indent="0" algn="ctr" defTabSz="2599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enario-0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6 (Diff-0.6)</a:t>
                      </a:r>
                    </a:p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8 (Diff-0.8)</a:t>
                      </a:r>
                    </a:p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4 (Diff-0.4)</a:t>
                      </a:r>
                    </a:p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599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t Operations</a:t>
                      </a:r>
                    </a:p>
                    <a:p>
                      <a:pPr algn="ctr" fontAlgn="b"/>
                      <a:endParaRPr lang="en-IN" sz="12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599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x up at port or wrong 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ing &amp; Measurements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3305040"/>
                  </a:ext>
                </a:extLst>
              </a:tr>
              <a:tr h="516786">
                <a:tc>
                  <a:txBody>
                    <a:bodyPr/>
                    <a:lstStyle/>
                    <a:p>
                      <a:pPr marL="0" marR="0" lvl="0" indent="0" algn="ctr" defTabSz="2599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enario-0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6 (Diff-0.6)</a:t>
                      </a:r>
                    </a:p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4 (Diff-0.4)</a:t>
                      </a:r>
                    </a:p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6 (Diff-0.6)</a:t>
                      </a:r>
                    </a:p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599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t Operations &amp; Rail logistics</a:t>
                      </a:r>
                    </a:p>
                    <a:p>
                      <a:pPr algn="ctr" fontAlgn="b"/>
                      <a:endParaRPr lang="en-IN" sz="12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599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x-up during transit or at port, wrong 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ing &amp; Measurements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0868381"/>
                  </a:ext>
                </a:extLst>
              </a:tr>
              <a:tr h="516786">
                <a:tc>
                  <a:txBody>
                    <a:bodyPr/>
                    <a:lstStyle/>
                    <a:p>
                      <a:pPr marL="0" marR="0" lvl="0" indent="0" algn="ctr" defTabSz="2599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enario-0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4 (Diff-0.4)</a:t>
                      </a:r>
                    </a:p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6 (Diff-0.6)</a:t>
                      </a:r>
                    </a:p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8 (Diff-0.8)</a:t>
                      </a:r>
                    </a:p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t operations &amp; Rail logistic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599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x-up during transit or at port, wrong 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ing &amp; Measurements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2946960"/>
                  </a:ext>
                </a:extLst>
              </a:tr>
              <a:tr h="497273">
                <a:tc>
                  <a:txBody>
                    <a:bodyPr/>
                    <a:lstStyle/>
                    <a:p>
                      <a:pPr marL="0" marR="0" lvl="0" indent="0" algn="ctr" defTabSz="2599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enario-0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3 (Diff-0.3)</a:t>
                      </a:r>
                    </a:p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4 (Diff-0.4)</a:t>
                      </a:r>
                    </a:p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5 (Diff-0.5)</a:t>
                      </a:r>
                    </a:p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 Complain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599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 Complaint</a:t>
                      </a:r>
                    </a:p>
                    <a:p>
                      <a:pPr marL="0" marR="0" lvl="0" indent="0" algn="l" defTabSz="2599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2685679"/>
                  </a:ext>
                </a:extLst>
              </a:tr>
              <a:tr h="497273">
                <a:tc>
                  <a:txBody>
                    <a:bodyPr/>
                    <a:lstStyle/>
                    <a:p>
                      <a:pPr marL="0" marR="0" lvl="0" indent="0" algn="ctr" defTabSz="2599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enario-0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6 (Diff-0.6)</a:t>
                      </a:r>
                    </a:p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6 (Diff-0.6)</a:t>
                      </a:r>
                    </a:p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6 (Diff-0.6)</a:t>
                      </a:r>
                    </a:p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al supplie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599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rong Material supplied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9083759"/>
                  </a:ext>
                </a:extLst>
              </a:tr>
            </a:tbl>
          </a:graphicData>
        </a:graphic>
      </p:graphicFrame>
      <p:pic>
        <p:nvPicPr>
          <p:cNvPr id="28" name="Graphic 27" descr="Checkmark with solid fill">
            <a:extLst>
              <a:ext uri="{FF2B5EF4-FFF2-40B4-BE49-F238E27FC236}">
                <a16:creationId xmlns:a16="http://schemas.microsoft.com/office/drawing/2014/main" id="{30001270-37B2-7B54-9A19-1620257CB86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294795" y="2971989"/>
            <a:ext cx="324000" cy="324000"/>
          </a:xfrm>
          <a:prstGeom prst="rect">
            <a:avLst/>
          </a:prstGeom>
        </p:spPr>
      </p:pic>
      <p:pic>
        <p:nvPicPr>
          <p:cNvPr id="30" name="Graphic 29" descr="Badge Cross with solid fill">
            <a:extLst>
              <a:ext uri="{FF2B5EF4-FFF2-40B4-BE49-F238E27FC236}">
                <a16:creationId xmlns:a16="http://schemas.microsoft.com/office/drawing/2014/main" id="{006F6156-595C-7EEE-62EE-8FA756CEB807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101894" y="2971989"/>
            <a:ext cx="324000" cy="324000"/>
          </a:xfrm>
          <a:prstGeom prst="rect">
            <a:avLst/>
          </a:prstGeom>
        </p:spPr>
      </p:pic>
      <p:pic>
        <p:nvPicPr>
          <p:cNvPr id="31" name="Graphic 30" descr="Checkmark with solid fill">
            <a:extLst>
              <a:ext uri="{FF2B5EF4-FFF2-40B4-BE49-F238E27FC236}">
                <a16:creationId xmlns:a16="http://schemas.microsoft.com/office/drawing/2014/main" id="{46F59E0C-4FC0-4450-597F-976BCBEFE22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201197" y="2971989"/>
            <a:ext cx="324000" cy="324000"/>
          </a:xfrm>
          <a:prstGeom prst="rect">
            <a:avLst/>
          </a:prstGeom>
        </p:spPr>
      </p:pic>
      <p:pic>
        <p:nvPicPr>
          <p:cNvPr id="33" name="Graphic 32" descr="Checkmark with solid fill">
            <a:extLst>
              <a:ext uri="{FF2B5EF4-FFF2-40B4-BE49-F238E27FC236}">
                <a16:creationId xmlns:a16="http://schemas.microsoft.com/office/drawing/2014/main" id="{56886FE8-8328-A435-3FD2-A8A82A165BC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294795" y="3560572"/>
            <a:ext cx="324000" cy="324000"/>
          </a:xfrm>
          <a:prstGeom prst="rect">
            <a:avLst/>
          </a:prstGeom>
        </p:spPr>
      </p:pic>
      <p:pic>
        <p:nvPicPr>
          <p:cNvPr id="35" name="Graphic 34" descr="Checkmark with solid fill">
            <a:extLst>
              <a:ext uri="{FF2B5EF4-FFF2-40B4-BE49-F238E27FC236}">
                <a16:creationId xmlns:a16="http://schemas.microsoft.com/office/drawing/2014/main" id="{0169DDA6-9AD9-618D-E9C1-101D81BDCC1E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01894" y="3560572"/>
            <a:ext cx="324000" cy="324000"/>
          </a:xfrm>
          <a:prstGeom prst="rect">
            <a:avLst/>
          </a:prstGeom>
        </p:spPr>
      </p:pic>
      <p:pic>
        <p:nvPicPr>
          <p:cNvPr id="36" name="Graphic 35" descr="Badge Cross with solid fill">
            <a:extLst>
              <a:ext uri="{FF2B5EF4-FFF2-40B4-BE49-F238E27FC236}">
                <a16:creationId xmlns:a16="http://schemas.microsoft.com/office/drawing/2014/main" id="{72F89F46-E702-D151-B66F-D5798680AC25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201197" y="3560572"/>
            <a:ext cx="324000" cy="324000"/>
          </a:xfrm>
          <a:prstGeom prst="rect">
            <a:avLst/>
          </a:prstGeom>
        </p:spPr>
      </p:pic>
      <p:pic>
        <p:nvPicPr>
          <p:cNvPr id="46" name="Graphic 45" descr="Checkmark with solid fill">
            <a:extLst>
              <a:ext uri="{FF2B5EF4-FFF2-40B4-BE49-F238E27FC236}">
                <a16:creationId xmlns:a16="http://schemas.microsoft.com/office/drawing/2014/main" id="{B2EB5A95-4D4D-5B4A-C6A0-20955432124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01894" y="2439340"/>
            <a:ext cx="324000" cy="324000"/>
          </a:xfrm>
          <a:prstGeom prst="rect">
            <a:avLst/>
          </a:prstGeom>
        </p:spPr>
      </p:pic>
      <p:pic>
        <p:nvPicPr>
          <p:cNvPr id="47" name="Graphic 46" descr="Checkmark with solid fill">
            <a:extLst>
              <a:ext uri="{FF2B5EF4-FFF2-40B4-BE49-F238E27FC236}">
                <a16:creationId xmlns:a16="http://schemas.microsoft.com/office/drawing/2014/main" id="{45B8F604-B7FF-290D-3BAC-5DBA1BBF4C7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201197" y="2439340"/>
            <a:ext cx="324000" cy="324000"/>
          </a:xfrm>
          <a:prstGeom prst="rect">
            <a:avLst/>
          </a:prstGeom>
        </p:spPr>
      </p:pic>
      <p:pic>
        <p:nvPicPr>
          <p:cNvPr id="48" name="Graphic 47" descr="Checkmark with solid fill">
            <a:extLst>
              <a:ext uri="{FF2B5EF4-FFF2-40B4-BE49-F238E27FC236}">
                <a16:creationId xmlns:a16="http://schemas.microsoft.com/office/drawing/2014/main" id="{63E69663-3017-FFB7-C4CE-70C6983292A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201197" y="4038030"/>
            <a:ext cx="324000" cy="324000"/>
          </a:xfrm>
          <a:prstGeom prst="rect">
            <a:avLst/>
          </a:prstGeom>
        </p:spPr>
      </p:pic>
      <p:pic>
        <p:nvPicPr>
          <p:cNvPr id="49" name="Graphic 48" descr="Checkmark with solid fill">
            <a:extLst>
              <a:ext uri="{FF2B5EF4-FFF2-40B4-BE49-F238E27FC236}">
                <a16:creationId xmlns:a16="http://schemas.microsoft.com/office/drawing/2014/main" id="{8A23634A-0313-B7E8-511E-0F9B00D5EAA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216814" y="5640353"/>
            <a:ext cx="324000" cy="324000"/>
          </a:xfrm>
          <a:prstGeom prst="rect">
            <a:avLst/>
          </a:prstGeom>
        </p:spPr>
      </p:pic>
      <p:pic>
        <p:nvPicPr>
          <p:cNvPr id="50" name="Graphic 49" descr="Checkmark with solid fill">
            <a:extLst>
              <a:ext uri="{FF2B5EF4-FFF2-40B4-BE49-F238E27FC236}">
                <a16:creationId xmlns:a16="http://schemas.microsoft.com/office/drawing/2014/main" id="{11459DCF-EB15-10AF-2553-7C648CCF09DE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01894" y="4525399"/>
            <a:ext cx="324000" cy="324000"/>
          </a:xfrm>
          <a:prstGeom prst="rect">
            <a:avLst/>
          </a:prstGeom>
        </p:spPr>
      </p:pic>
      <p:pic>
        <p:nvPicPr>
          <p:cNvPr id="51" name="Graphic 50" descr="Checkmark with solid fill">
            <a:extLst>
              <a:ext uri="{FF2B5EF4-FFF2-40B4-BE49-F238E27FC236}">
                <a16:creationId xmlns:a16="http://schemas.microsoft.com/office/drawing/2014/main" id="{D1B44EA1-5CBA-DEE1-A0D3-C908870D434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17511" y="5640353"/>
            <a:ext cx="324000" cy="324000"/>
          </a:xfrm>
          <a:prstGeom prst="rect">
            <a:avLst/>
          </a:prstGeom>
        </p:spPr>
      </p:pic>
      <p:pic>
        <p:nvPicPr>
          <p:cNvPr id="52" name="Graphic 51" descr="Checkmark with solid fill">
            <a:extLst>
              <a:ext uri="{FF2B5EF4-FFF2-40B4-BE49-F238E27FC236}">
                <a16:creationId xmlns:a16="http://schemas.microsoft.com/office/drawing/2014/main" id="{B88CC342-6716-CE42-5468-F3DEED14403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294795" y="5077920"/>
            <a:ext cx="324000" cy="324000"/>
          </a:xfrm>
          <a:prstGeom prst="rect">
            <a:avLst/>
          </a:prstGeom>
        </p:spPr>
      </p:pic>
      <p:pic>
        <p:nvPicPr>
          <p:cNvPr id="53" name="Graphic 52" descr="Checkmark with solid fill">
            <a:extLst>
              <a:ext uri="{FF2B5EF4-FFF2-40B4-BE49-F238E27FC236}">
                <a16:creationId xmlns:a16="http://schemas.microsoft.com/office/drawing/2014/main" id="{D56E4D42-AC13-F801-144F-8BF66F8C832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310412" y="5640353"/>
            <a:ext cx="324000" cy="324000"/>
          </a:xfrm>
          <a:prstGeom prst="rect">
            <a:avLst/>
          </a:prstGeom>
        </p:spPr>
      </p:pic>
      <p:pic>
        <p:nvPicPr>
          <p:cNvPr id="54" name="Graphic 53" descr="Badge Cross with solid fill">
            <a:extLst>
              <a:ext uri="{FF2B5EF4-FFF2-40B4-BE49-F238E27FC236}">
                <a16:creationId xmlns:a16="http://schemas.microsoft.com/office/drawing/2014/main" id="{2BDA1C42-5609-1D67-02B4-B69F9970141E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294795" y="2439340"/>
            <a:ext cx="324000" cy="324000"/>
          </a:xfrm>
          <a:prstGeom prst="rect">
            <a:avLst/>
          </a:prstGeom>
        </p:spPr>
      </p:pic>
      <p:pic>
        <p:nvPicPr>
          <p:cNvPr id="55" name="Graphic 54" descr="Badge Cross with solid fill">
            <a:extLst>
              <a:ext uri="{FF2B5EF4-FFF2-40B4-BE49-F238E27FC236}">
                <a16:creationId xmlns:a16="http://schemas.microsoft.com/office/drawing/2014/main" id="{4DB75DAB-1718-FEEC-E5BA-FD96E102BA1E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294795" y="4525399"/>
            <a:ext cx="324000" cy="324000"/>
          </a:xfrm>
          <a:prstGeom prst="rect">
            <a:avLst/>
          </a:prstGeom>
        </p:spPr>
      </p:pic>
      <p:pic>
        <p:nvPicPr>
          <p:cNvPr id="56" name="Graphic 55" descr="Badge Cross with solid fill">
            <a:extLst>
              <a:ext uri="{FF2B5EF4-FFF2-40B4-BE49-F238E27FC236}">
                <a16:creationId xmlns:a16="http://schemas.microsoft.com/office/drawing/2014/main" id="{C1E446B5-DD80-A7AB-E760-7FA5802AD445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294795" y="4038030"/>
            <a:ext cx="324000" cy="324000"/>
          </a:xfrm>
          <a:prstGeom prst="rect">
            <a:avLst/>
          </a:prstGeom>
        </p:spPr>
      </p:pic>
      <p:pic>
        <p:nvPicPr>
          <p:cNvPr id="57" name="Graphic 56" descr="Badge Cross with solid fill">
            <a:extLst>
              <a:ext uri="{FF2B5EF4-FFF2-40B4-BE49-F238E27FC236}">
                <a16:creationId xmlns:a16="http://schemas.microsoft.com/office/drawing/2014/main" id="{79DEFA0E-2513-11D0-ACF1-3B3AE6333890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310412" y="6147975"/>
            <a:ext cx="324000" cy="324000"/>
          </a:xfrm>
          <a:prstGeom prst="rect">
            <a:avLst/>
          </a:prstGeom>
        </p:spPr>
      </p:pic>
      <p:pic>
        <p:nvPicPr>
          <p:cNvPr id="58" name="Graphic 57" descr="Badge Cross with solid fill">
            <a:extLst>
              <a:ext uri="{FF2B5EF4-FFF2-40B4-BE49-F238E27FC236}">
                <a16:creationId xmlns:a16="http://schemas.microsoft.com/office/drawing/2014/main" id="{F91A3163-DC12-AD67-4860-C4884C6334E8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117511" y="6147975"/>
            <a:ext cx="324000" cy="324000"/>
          </a:xfrm>
          <a:prstGeom prst="rect">
            <a:avLst/>
          </a:prstGeom>
        </p:spPr>
      </p:pic>
      <p:pic>
        <p:nvPicPr>
          <p:cNvPr id="59" name="Graphic 58" descr="Badge Cross with solid fill">
            <a:extLst>
              <a:ext uri="{FF2B5EF4-FFF2-40B4-BE49-F238E27FC236}">
                <a16:creationId xmlns:a16="http://schemas.microsoft.com/office/drawing/2014/main" id="{5D6E4ABA-FD8D-2081-805B-66E2B976C76D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216814" y="6147975"/>
            <a:ext cx="324000" cy="324000"/>
          </a:xfrm>
          <a:prstGeom prst="rect">
            <a:avLst/>
          </a:prstGeom>
        </p:spPr>
      </p:pic>
      <p:pic>
        <p:nvPicPr>
          <p:cNvPr id="60" name="Graphic 59" descr="Badge Cross with solid fill">
            <a:extLst>
              <a:ext uri="{FF2B5EF4-FFF2-40B4-BE49-F238E27FC236}">
                <a16:creationId xmlns:a16="http://schemas.microsoft.com/office/drawing/2014/main" id="{6D205EF3-5B47-0EF8-36EC-831A6A920D95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201197" y="4525399"/>
            <a:ext cx="324000" cy="324000"/>
          </a:xfrm>
          <a:prstGeom prst="rect">
            <a:avLst/>
          </a:prstGeom>
        </p:spPr>
      </p:pic>
      <p:pic>
        <p:nvPicPr>
          <p:cNvPr id="61" name="Graphic 60" descr="Badge Cross with solid fill">
            <a:extLst>
              <a:ext uri="{FF2B5EF4-FFF2-40B4-BE49-F238E27FC236}">
                <a16:creationId xmlns:a16="http://schemas.microsoft.com/office/drawing/2014/main" id="{9E5E5A79-B8C0-F944-515F-83B44C23554A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201197" y="5077920"/>
            <a:ext cx="324000" cy="324000"/>
          </a:xfrm>
          <a:prstGeom prst="rect">
            <a:avLst/>
          </a:prstGeom>
        </p:spPr>
      </p:pic>
      <p:pic>
        <p:nvPicPr>
          <p:cNvPr id="62" name="Graphic 61" descr="Badge Cross with solid fill">
            <a:extLst>
              <a:ext uri="{FF2B5EF4-FFF2-40B4-BE49-F238E27FC236}">
                <a16:creationId xmlns:a16="http://schemas.microsoft.com/office/drawing/2014/main" id="{2456A49C-6FF2-1335-4EA9-456EEAC353F3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101894" y="5077920"/>
            <a:ext cx="324000" cy="324000"/>
          </a:xfrm>
          <a:prstGeom prst="rect">
            <a:avLst/>
          </a:prstGeom>
        </p:spPr>
      </p:pic>
      <p:pic>
        <p:nvPicPr>
          <p:cNvPr id="63" name="Graphic 62" descr="Badge Cross with solid fill">
            <a:extLst>
              <a:ext uri="{FF2B5EF4-FFF2-40B4-BE49-F238E27FC236}">
                <a16:creationId xmlns:a16="http://schemas.microsoft.com/office/drawing/2014/main" id="{28E725B1-AE4C-B969-0B2C-DA19A457DFEC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101894" y="4038030"/>
            <a:ext cx="324000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9550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9D00C07C-84FB-0C54-8701-D38E377AC79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36880" y="699453"/>
          <a:ext cx="8077200" cy="6057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Graph" r:id="rId2" imgW="5943600" imgH="4457880" progId="STATISTICA.Graph">
                  <p:embed/>
                </p:oleObj>
              </mc:Choice>
              <mc:Fallback>
                <p:oleObj name="Graph" r:id="rId2" imgW="5943600" imgH="4457880" progId="STATISTICA.Graph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9D00C07C-84FB-0C54-8701-D38E377AC7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436880" y="699453"/>
                        <a:ext cx="8077200" cy="6057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AA1370-338C-8224-B497-D8179406ABBB}"/>
              </a:ext>
            </a:extLst>
          </p:cNvPr>
          <p:cNvCxnSpPr>
            <a:cxnSpLocks/>
          </p:cNvCxnSpPr>
          <p:nvPr/>
        </p:nvCxnSpPr>
        <p:spPr>
          <a:xfrm>
            <a:off x="5862320" y="1270000"/>
            <a:ext cx="0" cy="4815840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A330DF00-1982-337F-54F3-E825234FE0B0}"/>
              </a:ext>
            </a:extLst>
          </p:cNvPr>
          <p:cNvSpPr txBox="1"/>
          <p:nvPr/>
        </p:nvSpPr>
        <p:spPr>
          <a:xfrm>
            <a:off x="5916100" y="1133366"/>
            <a:ext cx="252370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>
                <a:latin typeface="Arial Narrow" panose="020B0606020202030204" pitchFamily="34" charset="0"/>
                <a:cs typeface="Arial" panose="020B0604020202020204" pitchFamily="34" charset="0"/>
              </a:rPr>
              <a:t>From  feb onwards the sample preparation process was mechanized at TSJ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E77C805-D0CF-9645-A384-F329C4447556}"/>
              </a:ext>
            </a:extLst>
          </p:cNvPr>
          <p:cNvCxnSpPr/>
          <p:nvPr/>
        </p:nvCxnSpPr>
        <p:spPr>
          <a:xfrm>
            <a:off x="5916100" y="1723972"/>
            <a:ext cx="221768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4D7BABB6-A24D-2A8B-2F3C-21437012E385}"/>
              </a:ext>
            </a:extLst>
          </p:cNvPr>
          <p:cNvSpPr txBox="1"/>
          <p:nvPr/>
        </p:nvSpPr>
        <p:spPr>
          <a:xfrm>
            <a:off x="8657642" y="699453"/>
            <a:ext cx="3460786" cy="175432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From feb onwards, At CRMT lab, Jamshedpur mechanized means was introduced during sample preparation and results of Ash % reporting has improved as compared to the previous reported values.</a:t>
            </a:r>
          </a:p>
          <a:p>
            <a:pPr algn="just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Last 6 months comparison study done for LP ash reported vs Rake level reported values.</a:t>
            </a:r>
          </a:p>
          <a:p>
            <a:pPr algn="just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C8580CC-B194-0E52-613D-91FB5B7B995E}"/>
              </a:ext>
            </a:extLst>
          </p:cNvPr>
          <p:cNvSpPr txBox="1"/>
          <p:nvPr/>
        </p:nvSpPr>
        <p:spPr>
          <a:xfrm>
            <a:off x="368052" y="132440"/>
            <a:ext cx="1158010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200" b="1">
                <a:solidFill>
                  <a:srgbClr val="3D7EDB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Box plot of Ash% rake Analysis – LP vs Plant site for all grades of coal as per IRQA            Oct’23-Mar’24 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11467B5-E04F-8097-CB6A-EC9FC054EDAB}"/>
              </a:ext>
            </a:extLst>
          </p:cNvPr>
          <p:cNvGraphicFramePr>
            <a:graphicFrameLocks noGrp="1"/>
          </p:cNvGraphicFramePr>
          <p:nvPr/>
        </p:nvGraphicFramePr>
        <p:xfrm>
          <a:off x="8657642" y="2966720"/>
          <a:ext cx="3460786" cy="2649817"/>
        </p:xfrm>
        <a:graphic>
          <a:graphicData uri="http://schemas.openxmlformats.org/drawingml/2006/table">
            <a:tbl>
              <a:tblPr/>
              <a:tblGrid>
                <a:gridCol w="1492198">
                  <a:extLst>
                    <a:ext uri="{9D8B030D-6E8A-4147-A177-3AD203B41FA5}">
                      <a16:colId xmlns:a16="http://schemas.microsoft.com/office/drawing/2014/main" val="165489638"/>
                    </a:ext>
                  </a:extLst>
                </a:gridCol>
                <a:gridCol w="1968588">
                  <a:extLst>
                    <a:ext uri="{9D8B030D-6E8A-4147-A177-3AD203B41FA5}">
                      <a16:colId xmlns:a16="http://schemas.microsoft.com/office/drawing/2014/main" val="624569558"/>
                    </a:ext>
                  </a:extLst>
                </a:gridCol>
              </a:tblGrid>
              <a:tr h="437208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Month wise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ount of TSJ Sample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9406559"/>
                  </a:ext>
                </a:extLst>
              </a:tr>
              <a:tr h="3160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 Narrow" panose="020B0606020202030204" pitchFamily="34" charset="0"/>
                        </a:rPr>
                        <a:t>OC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6977577"/>
                  </a:ext>
                </a:extLst>
              </a:tr>
              <a:tr h="3160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 Narrow" panose="020B0606020202030204" pitchFamily="34" charset="0"/>
                        </a:rPr>
                        <a:t>NOV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3920948"/>
                  </a:ext>
                </a:extLst>
              </a:tr>
              <a:tr h="3160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 Narrow" panose="020B0606020202030204" pitchFamily="34" charset="0"/>
                        </a:rPr>
                        <a:t>DEC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8813194"/>
                  </a:ext>
                </a:extLst>
              </a:tr>
              <a:tr h="3160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 Narrow" panose="020B0606020202030204" pitchFamily="34" charset="0"/>
                        </a:rPr>
                        <a:t>J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 Narrow" panose="020B0606020202030204" pitchFamily="34" charset="0"/>
                        </a:rPr>
                        <a:t>1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6721760"/>
                  </a:ext>
                </a:extLst>
              </a:tr>
              <a:tr h="3160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 Narrow" panose="020B0606020202030204" pitchFamily="34" charset="0"/>
                        </a:rPr>
                        <a:t>FEB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5078642"/>
                  </a:ext>
                </a:extLst>
              </a:tr>
              <a:tr h="3160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 Narrow" panose="020B0606020202030204" pitchFamily="34" charset="0"/>
                        </a:rPr>
                        <a:t>MA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0832710"/>
                  </a:ext>
                </a:extLst>
              </a:tr>
              <a:tr h="3160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Grand Total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7091181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08249128-319B-F5D0-F2E3-21CFB9F8EE24}"/>
              </a:ext>
            </a:extLst>
          </p:cNvPr>
          <p:cNvSpPr txBox="1"/>
          <p:nvPr/>
        </p:nvSpPr>
        <p:spPr>
          <a:xfrm>
            <a:off x="934724" y="2966720"/>
            <a:ext cx="464048" cy="3013031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txBody>
          <a:bodyPr wrap="square" rtlCol="0">
            <a:spAutoFit/>
          </a:bodyPr>
          <a:lstStyle/>
          <a:p>
            <a:endParaRPr lang="en-IN"/>
          </a:p>
        </p:txBody>
      </p:sp>
      <p:sp>
        <p:nvSpPr>
          <p:cNvPr id="6" name="Action Button: Go to End 5">
            <a:hlinkClick r:id="rId4" action="ppaction://hlinksldjump" highlightClick="1"/>
            <a:extLst>
              <a:ext uri="{FF2B5EF4-FFF2-40B4-BE49-F238E27FC236}">
                <a16:creationId xmlns:a16="http://schemas.microsoft.com/office/drawing/2014/main" id="{4B3F872C-5365-4402-BAAD-F76A68A5F027}"/>
              </a:ext>
            </a:extLst>
          </p:cNvPr>
          <p:cNvSpPr/>
          <p:nvPr/>
        </p:nvSpPr>
        <p:spPr>
          <a:xfrm>
            <a:off x="8022159" y="1367854"/>
            <a:ext cx="345874" cy="231797"/>
          </a:xfrm>
          <a:prstGeom prst="actionButtonEnd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355959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5C04C2A9-B384-F31C-3A94-B0FBB0E8D50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27035805"/>
              </p:ext>
            </p:extLst>
          </p:nvPr>
        </p:nvGraphicFramePr>
        <p:xfrm>
          <a:off x="523240" y="863283"/>
          <a:ext cx="7198360" cy="53987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Graph" r:id="rId2" imgW="5943600" imgH="4457880" progId="STATISTICA.Graph">
                  <p:embed/>
                </p:oleObj>
              </mc:Choice>
              <mc:Fallback>
                <p:oleObj name="Graph" r:id="rId2" imgW="5943600" imgH="4457880" progId="STATISTICA.Graph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5C04C2A9-B384-F31C-3A94-B0FBB0E8D5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523240" y="863283"/>
                        <a:ext cx="7198360" cy="53987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662E9065-5323-61DD-E073-B20DC0CF11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4960573"/>
              </p:ext>
            </p:extLst>
          </p:nvPr>
        </p:nvGraphicFramePr>
        <p:xfrm>
          <a:off x="8322362" y="2886710"/>
          <a:ext cx="3460786" cy="2336796"/>
        </p:xfrm>
        <a:graphic>
          <a:graphicData uri="http://schemas.openxmlformats.org/drawingml/2006/table">
            <a:tbl>
              <a:tblPr/>
              <a:tblGrid>
                <a:gridCol w="1730393">
                  <a:extLst>
                    <a:ext uri="{9D8B030D-6E8A-4147-A177-3AD203B41FA5}">
                      <a16:colId xmlns:a16="http://schemas.microsoft.com/office/drawing/2014/main" val="16468578"/>
                    </a:ext>
                  </a:extLst>
                </a:gridCol>
                <a:gridCol w="1730393">
                  <a:extLst>
                    <a:ext uri="{9D8B030D-6E8A-4147-A177-3AD203B41FA5}">
                      <a16:colId xmlns:a16="http://schemas.microsoft.com/office/drawing/2014/main" val="3306094799"/>
                    </a:ext>
                  </a:extLst>
                </a:gridCol>
              </a:tblGrid>
              <a:tr h="259644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599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ount of TSJ Samples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0089301"/>
                  </a:ext>
                </a:extLst>
              </a:tr>
              <a:tr h="259644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'23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8223900"/>
                  </a:ext>
                </a:extLst>
              </a:tr>
              <a:tr h="259644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c'23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2178772"/>
                  </a:ext>
                </a:extLst>
              </a:tr>
              <a:tr h="259644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n'24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0183976"/>
                  </a:ext>
                </a:extLst>
              </a:tr>
              <a:tr h="259644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'24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3051846"/>
                  </a:ext>
                </a:extLst>
              </a:tr>
              <a:tr h="259644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'24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2536880"/>
                  </a:ext>
                </a:extLst>
              </a:tr>
              <a:tr h="259644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'24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6352404"/>
                  </a:ext>
                </a:extLst>
              </a:tr>
              <a:tr h="259644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y'24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8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6149033"/>
                  </a:ext>
                </a:extLst>
              </a:tr>
              <a:tr h="259644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and Total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5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09661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76D32EBD-CE21-2BF9-80AB-C7FF385E1DA5}"/>
              </a:ext>
            </a:extLst>
          </p:cNvPr>
          <p:cNvSpPr txBox="1"/>
          <p:nvPr/>
        </p:nvSpPr>
        <p:spPr>
          <a:xfrm>
            <a:off x="8322362" y="863283"/>
            <a:ext cx="3460786" cy="175432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From feb onwards, At CRMT lab, Jamshedpur mechanized means was introduced during sample preparation and results of Ash % reporting has improved as compared to the previous reported values.</a:t>
            </a:r>
          </a:p>
          <a:p>
            <a:pPr algn="just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Last 7 months comparison study done for LP VM reported vs Rake level reported values.</a:t>
            </a:r>
          </a:p>
          <a:p>
            <a:pPr algn="just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A94AEC5-5653-0BEC-1AC3-1C189CAF199E}"/>
              </a:ext>
            </a:extLst>
          </p:cNvPr>
          <p:cNvCxnSpPr>
            <a:cxnSpLocks/>
          </p:cNvCxnSpPr>
          <p:nvPr/>
        </p:nvCxnSpPr>
        <p:spPr>
          <a:xfrm>
            <a:off x="3850640" y="1298893"/>
            <a:ext cx="0" cy="4360227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585BBD1-AC01-BA8A-F14F-B6D073331A22}"/>
              </a:ext>
            </a:extLst>
          </p:cNvPr>
          <p:cNvCxnSpPr/>
          <p:nvPr/>
        </p:nvCxnSpPr>
        <p:spPr>
          <a:xfrm>
            <a:off x="3850640" y="1718892"/>
            <a:ext cx="221768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6941AC54-B405-6A02-6560-6A2E7822C39B}"/>
              </a:ext>
            </a:extLst>
          </p:cNvPr>
          <p:cNvSpPr txBox="1"/>
          <p:nvPr/>
        </p:nvSpPr>
        <p:spPr>
          <a:xfrm>
            <a:off x="3850640" y="1285644"/>
            <a:ext cx="252370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>
                <a:latin typeface="Arial Narrow" panose="020B0606020202030204" pitchFamily="34" charset="0"/>
                <a:cs typeface="Arial" panose="020B0604020202020204" pitchFamily="34" charset="0"/>
              </a:rPr>
              <a:t>From  feb onwards the sample preparation process was mechanized at TSJ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0DE0D66-2998-A899-665C-7B4AFD0111FE}"/>
              </a:ext>
            </a:extLst>
          </p:cNvPr>
          <p:cNvSpPr txBox="1"/>
          <p:nvPr/>
        </p:nvSpPr>
        <p:spPr>
          <a:xfrm>
            <a:off x="368052" y="132440"/>
            <a:ext cx="1158010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200" b="1">
                <a:solidFill>
                  <a:srgbClr val="3D7EDB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Box plot of VM % rake Analysis – LP vs plant site for all grades of coal as per IRQA           Nov’23-May’24 </a:t>
            </a:r>
          </a:p>
        </p:txBody>
      </p:sp>
    </p:spTree>
    <p:extLst>
      <p:ext uri="{BB962C8B-B14F-4D97-AF65-F5344CB8AC3E}">
        <p14:creationId xmlns:p14="http://schemas.microsoft.com/office/powerpoint/2010/main" val="39770885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D760E5-65C8-6519-6666-3A6D383A03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927176A-BFF9-C9FE-FCDB-FFD380D13EF6}"/>
              </a:ext>
            </a:extLst>
          </p:cNvPr>
          <p:cNvSpPr/>
          <p:nvPr/>
        </p:nvSpPr>
        <p:spPr>
          <a:xfrm>
            <a:off x="4371746" y="2967335"/>
            <a:ext cx="344850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</a:t>
            </a:r>
            <a:r>
              <a:rPr lang="en-US" sz="5400" b="1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nk You</a:t>
            </a:r>
            <a:endParaRPr lang="en-US" sz="5400" b="1" cap="none" spc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37654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4839A865-C82B-BDF5-B30B-C1C8B7FE312E}"/>
              </a:ext>
            </a:extLst>
          </p:cNvPr>
          <p:cNvSpPr txBox="1"/>
          <p:nvPr/>
        </p:nvSpPr>
        <p:spPr>
          <a:xfrm>
            <a:off x="147407" y="729626"/>
            <a:ext cx="3750553" cy="569386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IN" sz="1400" b="1" dirty="0">
                <a:latin typeface="Arial" panose="020B0604020202020204" pitchFamily="34" charset="0"/>
                <a:cs typeface="Arial" panose="020B0604020202020204" pitchFamily="34" charset="0"/>
              </a:rPr>
              <a:t>IS 16143 </a:t>
            </a: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prescribes how to design our process to achieve any required precision.</a:t>
            </a:r>
          </a:p>
          <a:p>
            <a:pPr algn="just"/>
            <a:endParaRPr lang="en-I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Basis our current process design, we have calculated the precision/tolerance value.</a:t>
            </a:r>
          </a:p>
          <a:p>
            <a:pPr algn="just"/>
            <a:endParaRPr lang="en-I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The calculated  precision value (+/- 0.55) is based on our initial assumption of V</a:t>
            </a:r>
            <a:r>
              <a:rPr lang="en-IN" sz="1400" baseline="-25000" dirty="0">
                <a:latin typeface="Arial" panose="020B0604020202020204" pitchFamily="34" charset="0"/>
                <a:cs typeface="Arial" panose="020B0604020202020204" pitchFamily="34" charset="0"/>
              </a:rPr>
              <a:t>PT</a:t>
            </a: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 taken as 0.2 (</a:t>
            </a:r>
            <a:r>
              <a:rPr lang="en-IN" sz="1400" b="1" dirty="0">
                <a:latin typeface="Arial" panose="020B0604020202020204" pitchFamily="34" charset="0"/>
                <a:cs typeface="Arial" panose="020B0604020202020204" pitchFamily="34" charset="0"/>
              </a:rPr>
              <a:t>As suggested in IS standard if initial value is not available</a:t>
            </a: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algn="just"/>
            <a:endParaRPr lang="en-I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The Sc.Serv team has done the flight sample variation study across TSL labs and had submitted their findings in report attached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I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I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The report shows the actual </a:t>
            </a: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</a:t>
            </a:r>
            <a:r>
              <a:rPr kumimoji="0" lang="en-IN" sz="1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T</a:t>
            </a: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 value based on different coal grades basis Ash &amp; VM range. </a:t>
            </a:r>
          </a:p>
          <a:p>
            <a:pPr algn="just"/>
            <a:endParaRPr lang="en-I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The +/- 0.55 value was recalibrated for  different coal grades in next slides.                                                  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B78E73-CCA4-84B7-9D23-38120ECCA9C1}"/>
              </a:ext>
            </a:extLst>
          </p:cNvPr>
          <p:cNvSpPr txBox="1"/>
          <p:nvPr/>
        </p:nvSpPr>
        <p:spPr>
          <a:xfrm>
            <a:off x="4081414" y="1305742"/>
            <a:ext cx="2268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200" dirty="0">
                <a:latin typeface="Arial" panose="020B0604020202020204" pitchFamily="34" charset="0"/>
                <a:cs typeface="Arial" panose="020B0604020202020204" pitchFamily="34" charset="0"/>
              </a:rPr>
              <a:t>As suggested in  IS- 1614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200" dirty="0">
                <a:latin typeface="Arial" panose="020B0604020202020204" pitchFamily="34" charset="0"/>
                <a:cs typeface="Arial" panose="020B0604020202020204" pitchFamily="34" charset="0"/>
              </a:rPr>
              <a:t>+/- 0.55 at TSJ</a:t>
            </a: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6EEC0262-6478-8B6F-EE2F-80C2C5515516}"/>
              </a:ext>
            </a:extLst>
          </p:cNvPr>
          <p:cNvSpPr/>
          <p:nvPr/>
        </p:nvSpPr>
        <p:spPr>
          <a:xfrm>
            <a:off x="5369788" y="1636785"/>
            <a:ext cx="376773" cy="24829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E5A82E67-87AA-59B1-2B2C-A07371F72924}"/>
              </a:ext>
            </a:extLst>
          </p:cNvPr>
          <p:cNvGraphicFramePr>
            <a:graphicFrameLocks noGrp="1"/>
          </p:cNvGraphicFramePr>
          <p:nvPr/>
        </p:nvGraphicFramePr>
        <p:xfrm>
          <a:off x="7260061" y="881068"/>
          <a:ext cx="4857579" cy="1401145"/>
        </p:xfrm>
        <a:graphic>
          <a:graphicData uri="http://schemas.openxmlformats.org/drawingml/2006/table">
            <a:tbl>
              <a:tblPr/>
              <a:tblGrid>
                <a:gridCol w="1055002">
                  <a:extLst>
                    <a:ext uri="{9D8B030D-6E8A-4147-A177-3AD203B41FA5}">
                      <a16:colId xmlns:a16="http://schemas.microsoft.com/office/drawing/2014/main" val="2503568891"/>
                    </a:ext>
                  </a:extLst>
                </a:gridCol>
                <a:gridCol w="2682533">
                  <a:extLst>
                    <a:ext uri="{9D8B030D-6E8A-4147-A177-3AD203B41FA5}">
                      <a16:colId xmlns:a16="http://schemas.microsoft.com/office/drawing/2014/main" val="3626351811"/>
                    </a:ext>
                  </a:extLst>
                </a:gridCol>
                <a:gridCol w="560022">
                  <a:extLst>
                    <a:ext uri="{9D8B030D-6E8A-4147-A177-3AD203B41FA5}">
                      <a16:colId xmlns:a16="http://schemas.microsoft.com/office/drawing/2014/main" val="2866999815"/>
                    </a:ext>
                  </a:extLst>
                </a:gridCol>
                <a:gridCol w="560022">
                  <a:extLst>
                    <a:ext uri="{9D8B030D-6E8A-4147-A177-3AD203B41FA5}">
                      <a16:colId xmlns:a16="http://schemas.microsoft.com/office/drawing/2014/main" val="3134310516"/>
                    </a:ext>
                  </a:extLst>
                </a:gridCol>
              </a:tblGrid>
              <a:tr h="20603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ameter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SJ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P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4787636"/>
                  </a:ext>
                </a:extLst>
              </a:tr>
              <a:tr h="180574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mary Increment Varianc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2390162"/>
                  </a:ext>
                </a:extLst>
              </a:tr>
              <a:tr h="180574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</a:t>
                      </a:r>
                      <a:r>
                        <a:rPr lang="en-IN" sz="1200" b="0" i="0" u="none" strike="noStrike" baseline="-25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T</a:t>
                      </a:r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paration and testing varianc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9465952"/>
                  </a:ext>
                </a:extLst>
              </a:tr>
              <a:tr h="180574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 of increments per sub lot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3070200"/>
                  </a:ext>
                </a:extLst>
              </a:tr>
              <a:tr h="180574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 of sublots in the lo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4006793"/>
                  </a:ext>
                </a:extLst>
              </a:tr>
              <a:tr h="4635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erall precision of sampling , sample preparation and testing for the lo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0728010"/>
                  </a:ext>
                </a:extLst>
              </a:tr>
            </a:tbl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642ACB91-D5C6-DC8C-0027-87D00381D05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045" t="8574" r="17739" b="13769"/>
          <a:stretch/>
        </p:blipFill>
        <p:spPr>
          <a:xfrm>
            <a:off x="5871391" y="1422023"/>
            <a:ext cx="1141446" cy="665443"/>
          </a:xfrm>
          <a:prstGeom prst="rect">
            <a:avLst/>
          </a:prstGeom>
        </p:spPr>
      </p:pic>
      <p:sp>
        <p:nvSpPr>
          <p:cNvPr id="17" name="Action Button: Go Forward or Next 16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id="{FE555495-0011-EB8D-AAFE-36AE49049A65}"/>
              </a:ext>
            </a:extLst>
          </p:cNvPr>
          <p:cNvSpPr/>
          <p:nvPr/>
        </p:nvSpPr>
        <p:spPr>
          <a:xfrm>
            <a:off x="11346350" y="944419"/>
            <a:ext cx="132162" cy="109841"/>
          </a:xfrm>
          <a:prstGeom prst="actionButtonForwardNex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Action Button: Go Forward or Next 17">
            <a:hlinkClick r:id="rId4" action="ppaction://hlinksldjump" highlightClick="1"/>
            <a:extLst>
              <a:ext uri="{FF2B5EF4-FFF2-40B4-BE49-F238E27FC236}">
                <a16:creationId xmlns:a16="http://schemas.microsoft.com/office/drawing/2014/main" id="{8EF0A93D-47FE-1318-CDED-E07A94527DF8}"/>
              </a:ext>
            </a:extLst>
          </p:cNvPr>
          <p:cNvSpPr/>
          <p:nvPr/>
        </p:nvSpPr>
        <p:spPr>
          <a:xfrm>
            <a:off x="8012667" y="1298321"/>
            <a:ext cx="132162" cy="109841"/>
          </a:xfrm>
          <a:prstGeom prst="actionButtonForwardNex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21ECBDC-932C-F02B-C6F0-BCC850B389DC}"/>
              </a:ext>
            </a:extLst>
          </p:cNvPr>
          <p:cNvSpPr/>
          <p:nvPr/>
        </p:nvSpPr>
        <p:spPr>
          <a:xfrm>
            <a:off x="4002885" y="716409"/>
            <a:ext cx="2544701" cy="3781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 defTabSz="914400">
              <a:lnSpc>
                <a:spcPct val="150000"/>
              </a:lnSpc>
              <a:defRPr/>
            </a:pPr>
            <a:r>
              <a:rPr lang="en-IN"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 B: As per IS-16143</a:t>
            </a:r>
          </a:p>
          <a:p>
            <a:pPr marR="0" lvl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6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0" name="Object 19">
            <a:extLst>
              <a:ext uri="{FF2B5EF4-FFF2-40B4-BE49-F238E27FC236}">
                <a16:creationId xmlns:a16="http://schemas.microsoft.com/office/drawing/2014/main" id="{1FAE1877-2310-6CE5-B8F4-E840A3705DC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108283" y="4408443"/>
          <a:ext cx="9144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5" imgW="914400" imgH="806400" progId="AcroExch.Document.DC">
                  <p:embed/>
                </p:oleObj>
              </mc:Choice>
              <mc:Fallback>
                <p:oleObj name="Acrobat Document" showAsIcon="1" r:id="rId5" imgW="914400" imgH="806400" progId="AcroExch.Document.DC">
                  <p:embed/>
                  <p:pic>
                    <p:nvPicPr>
                      <p:cNvPr id="20" name="Object 19">
                        <a:extLst>
                          <a:ext uri="{FF2B5EF4-FFF2-40B4-BE49-F238E27FC236}">
                            <a16:creationId xmlns:a16="http://schemas.microsoft.com/office/drawing/2014/main" id="{1FAE1877-2310-6CE5-B8F4-E840A3705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08283" y="4408443"/>
                        <a:ext cx="9144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58523D04-CA2D-000A-7276-66EE3C19647F}"/>
              </a:ext>
            </a:extLst>
          </p:cNvPr>
          <p:cNvSpPr txBox="1"/>
          <p:nvPr/>
        </p:nvSpPr>
        <p:spPr>
          <a:xfrm>
            <a:off x="223520" y="203200"/>
            <a:ext cx="118867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y for determination of tolerance in reported coal ash - Backup</a:t>
            </a: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502BEBCC-7F5F-B177-9AA6-4F93FABBB878}"/>
              </a:ext>
            </a:extLst>
          </p:cNvPr>
          <p:cNvSpPr/>
          <p:nvPr/>
        </p:nvSpPr>
        <p:spPr>
          <a:xfrm>
            <a:off x="6911597" y="1622298"/>
            <a:ext cx="376773" cy="24193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/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C93A99DA-07AE-3DF3-6322-DF997636C16F}"/>
              </a:ext>
            </a:extLst>
          </p:cNvPr>
          <p:cNvGrpSpPr/>
          <p:nvPr/>
        </p:nvGrpSpPr>
        <p:grpSpPr>
          <a:xfrm>
            <a:off x="3897960" y="2433724"/>
            <a:ext cx="7978228" cy="4004579"/>
            <a:chOff x="-515537" y="1662461"/>
            <a:chExt cx="12224424" cy="4414660"/>
          </a:xfrm>
        </p:grpSpPr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632D5010-ED3D-3920-E3F7-E824ABEDE6A0}"/>
                </a:ext>
              </a:extLst>
            </p:cNvPr>
            <p:cNvCxnSpPr>
              <a:cxnSpLocks/>
            </p:cNvCxnSpPr>
            <p:nvPr/>
          </p:nvCxnSpPr>
          <p:spPr>
            <a:xfrm>
              <a:off x="1251857" y="2699657"/>
              <a:ext cx="4304569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9" name="Straight Arrow Connector 68">
              <a:extLst>
                <a:ext uri="{FF2B5EF4-FFF2-40B4-BE49-F238E27FC236}">
                  <a16:creationId xmlns:a16="http://schemas.microsoft.com/office/drawing/2014/main" id="{87FE9D81-BDC2-B141-54CE-EB68C9BA40BC}"/>
                </a:ext>
              </a:extLst>
            </p:cNvPr>
            <p:cNvCxnSpPr>
              <a:cxnSpLocks/>
            </p:cNvCxnSpPr>
            <p:nvPr/>
          </p:nvCxnSpPr>
          <p:spPr>
            <a:xfrm>
              <a:off x="3776130" y="1915887"/>
              <a:ext cx="1447799" cy="78377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0" name="Straight Arrow Connector 69">
              <a:extLst>
                <a:ext uri="{FF2B5EF4-FFF2-40B4-BE49-F238E27FC236}">
                  <a16:creationId xmlns:a16="http://schemas.microsoft.com/office/drawing/2014/main" id="{754425AC-B2C1-0FB7-FA8A-00844FCBD7DA}"/>
                </a:ext>
              </a:extLst>
            </p:cNvPr>
            <p:cNvCxnSpPr>
              <a:cxnSpLocks/>
            </p:cNvCxnSpPr>
            <p:nvPr/>
          </p:nvCxnSpPr>
          <p:spPr>
            <a:xfrm>
              <a:off x="1556658" y="1915887"/>
              <a:ext cx="1447799" cy="78377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1" name="Straight Arrow Connector 70">
              <a:extLst>
                <a:ext uri="{FF2B5EF4-FFF2-40B4-BE49-F238E27FC236}">
                  <a16:creationId xmlns:a16="http://schemas.microsoft.com/office/drawing/2014/main" id="{A1656084-4204-EC18-3444-E64546F6B0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0857" y="2699657"/>
              <a:ext cx="1447800" cy="78377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2" name="Straight Arrow Connector 71">
              <a:extLst>
                <a:ext uri="{FF2B5EF4-FFF2-40B4-BE49-F238E27FC236}">
                  <a16:creationId xmlns:a16="http://schemas.microsoft.com/office/drawing/2014/main" id="{C5CC3D69-0989-C2E2-0126-A953F69CB0F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23457" y="2699657"/>
              <a:ext cx="1371600" cy="87085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85029B03-ECDB-6647-8207-261076C07D92}"/>
                </a:ext>
              </a:extLst>
            </p:cNvPr>
            <p:cNvSpPr txBox="1"/>
            <p:nvPr/>
          </p:nvSpPr>
          <p:spPr>
            <a:xfrm>
              <a:off x="5552406" y="2552611"/>
              <a:ext cx="1658820" cy="47501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IN" sz="1100" dirty="0">
                  <a:latin typeface="Arial" panose="020B0604020202020204" pitchFamily="34" charset="0"/>
                  <a:cs typeface="Arial" panose="020B0604020202020204" pitchFamily="34" charset="0"/>
                </a:rPr>
                <a:t>Precision</a:t>
              </a:r>
            </a:p>
            <a:p>
              <a:r>
                <a:rPr lang="en-IN" sz="1100" dirty="0">
                  <a:latin typeface="Arial" panose="020B0604020202020204" pitchFamily="34" charset="0"/>
                  <a:cs typeface="Arial" panose="020B0604020202020204" pitchFamily="34" charset="0"/>
                </a:rPr>
                <a:t>    (*P</a:t>
              </a:r>
              <a:r>
                <a:rPr lang="en-IN" sz="1100" baseline="-25000" dirty="0">
                  <a:latin typeface="Arial" panose="020B0604020202020204" pitchFamily="34" charset="0"/>
                  <a:cs typeface="Arial" panose="020B0604020202020204" pitchFamily="34" charset="0"/>
                </a:rPr>
                <a:t>L</a:t>
              </a:r>
              <a:r>
                <a:rPr lang="en-IN" sz="110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F833C6CD-2262-74F4-7079-D0FFC49CE36A}"/>
                </a:ext>
              </a:extLst>
            </p:cNvPr>
            <p:cNvSpPr txBox="1"/>
            <p:nvPr/>
          </p:nvSpPr>
          <p:spPr>
            <a:xfrm>
              <a:off x="-22966" y="1662461"/>
              <a:ext cx="3475216" cy="2884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100" dirty="0">
                  <a:latin typeface="Arial" panose="020B0604020202020204" pitchFamily="34" charset="0"/>
                  <a:cs typeface="Arial" panose="020B0604020202020204" pitchFamily="34" charset="0"/>
                </a:rPr>
                <a:t>Primary increment variance(</a:t>
              </a:r>
              <a:r>
                <a:rPr lang="en-IN" sz="1100" dirty="0"/>
                <a:t>V</a:t>
              </a:r>
              <a:r>
                <a:rPr lang="en-IN" sz="1100" baseline="-25000" dirty="0"/>
                <a:t>1</a:t>
              </a:r>
              <a:r>
                <a:rPr lang="en-IN" sz="110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78F5BD58-1B32-F43B-C202-1E9A22A21DD0}"/>
                </a:ext>
              </a:extLst>
            </p:cNvPr>
            <p:cNvSpPr txBox="1"/>
            <p:nvPr/>
          </p:nvSpPr>
          <p:spPr>
            <a:xfrm>
              <a:off x="3309257" y="1666419"/>
              <a:ext cx="3967579" cy="2884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100" dirty="0">
                  <a:latin typeface="Arial" panose="020B0604020202020204" pitchFamily="34" charset="0"/>
                  <a:cs typeface="Arial" panose="020B0604020202020204" pitchFamily="34" charset="0"/>
                </a:rPr>
                <a:t>Preparation &amp; testing variance(</a:t>
              </a:r>
              <a:r>
                <a:rPr lang="en-IN" sz="1100" dirty="0"/>
                <a:t>V</a:t>
              </a:r>
              <a:r>
                <a:rPr lang="en-IN" sz="1100" baseline="-25000" dirty="0"/>
                <a:t>PT</a:t>
              </a:r>
              <a:r>
                <a:rPr lang="en-IN" sz="110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D37D504F-B680-CD85-3173-5251B09DEF54}"/>
                </a:ext>
              </a:extLst>
            </p:cNvPr>
            <p:cNvSpPr txBox="1"/>
            <p:nvPr/>
          </p:nvSpPr>
          <p:spPr>
            <a:xfrm>
              <a:off x="2336499" y="3592458"/>
              <a:ext cx="2684929" cy="2884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100" dirty="0">
                  <a:latin typeface="Arial" panose="020B0604020202020204" pitchFamily="34" charset="0"/>
                  <a:cs typeface="Arial" panose="020B0604020202020204" pitchFamily="34" charset="0"/>
                </a:rPr>
                <a:t>No of sublots in a lot (m)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607D6BC8-ED50-76D6-CE38-EF602B981265}"/>
                </a:ext>
              </a:extLst>
            </p:cNvPr>
            <p:cNvSpPr txBox="1"/>
            <p:nvPr/>
          </p:nvSpPr>
          <p:spPr>
            <a:xfrm>
              <a:off x="-515537" y="3588447"/>
              <a:ext cx="2834194" cy="4934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100" dirty="0">
                  <a:latin typeface="Arial" panose="020B0604020202020204" pitchFamily="34" charset="0"/>
                  <a:cs typeface="Arial" panose="020B0604020202020204" pitchFamily="34" charset="0"/>
                </a:rPr>
                <a:t>No of increments per sublots (n)</a:t>
              </a: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AAB06542-4761-A284-8E43-ADCCF5890E29}"/>
                </a:ext>
              </a:extLst>
            </p:cNvPr>
            <p:cNvGrpSpPr/>
            <p:nvPr/>
          </p:nvGrpSpPr>
          <p:grpSpPr>
            <a:xfrm>
              <a:off x="19478" y="2132267"/>
              <a:ext cx="11689409" cy="3944854"/>
              <a:chOff x="19478" y="2132267"/>
              <a:chExt cx="11689409" cy="3944854"/>
            </a:xfrm>
          </p:grpSpPr>
          <p:pic>
            <p:nvPicPr>
              <p:cNvPr id="79" name="Picture 78">
                <a:extLst>
                  <a:ext uri="{FF2B5EF4-FFF2-40B4-BE49-F238E27FC236}">
                    <a16:creationId xmlns:a16="http://schemas.microsoft.com/office/drawing/2014/main" id="{303DB539-7271-2D34-12E8-47F2DD61F38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l="19045" t="8574" r="17739" b="13769"/>
              <a:stretch/>
            </p:blipFill>
            <p:spPr>
              <a:xfrm>
                <a:off x="6878729" y="2132267"/>
                <a:ext cx="2328016" cy="909107"/>
              </a:xfrm>
              <a:prstGeom prst="rect">
                <a:avLst/>
              </a:prstGeom>
            </p:spPr>
          </p:pic>
          <p:cxnSp>
            <p:nvCxnSpPr>
              <p:cNvPr id="80" name="Straight Arrow Connector 79">
                <a:extLst>
                  <a:ext uri="{FF2B5EF4-FFF2-40B4-BE49-F238E27FC236}">
                    <a16:creationId xmlns:a16="http://schemas.microsoft.com/office/drawing/2014/main" id="{C1E38080-94B9-9767-A38E-2B17C15951C7}"/>
                  </a:ext>
                </a:extLst>
              </p:cNvPr>
              <p:cNvCxnSpPr>
                <a:cxnSpLocks/>
                <a:stCxn id="89" idx="2"/>
                <a:endCxn id="84" idx="0"/>
              </p:cNvCxnSpPr>
              <p:nvPr/>
            </p:nvCxnSpPr>
            <p:spPr>
              <a:xfrm>
                <a:off x="8672914" y="2585285"/>
                <a:ext cx="1495270" cy="2666322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1" name="Straight Arrow Connector 80">
                <a:extLst>
                  <a:ext uri="{FF2B5EF4-FFF2-40B4-BE49-F238E27FC236}">
                    <a16:creationId xmlns:a16="http://schemas.microsoft.com/office/drawing/2014/main" id="{76F28FA0-1F3B-A9C3-A921-F9605A73633A}"/>
                  </a:ext>
                </a:extLst>
              </p:cNvPr>
              <p:cNvCxnSpPr>
                <a:cxnSpLocks/>
                <a:stCxn id="87" idx="2"/>
                <a:endCxn id="85" idx="0"/>
              </p:cNvCxnSpPr>
              <p:nvPr/>
            </p:nvCxnSpPr>
            <p:spPr>
              <a:xfrm flipH="1">
                <a:off x="6376919" y="2996974"/>
                <a:ext cx="1980481" cy="2254636"/>
              </a:xfrm>
              <a:prstGeom prst="straightConnector1">
                <a:avLst/>
              </a:prstGeom>
              <a:ln>
                <a:solidFill>
                  <a:srgbClr val="4F81BD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Arrow Connector 81">
                <a:extLst>
                  <a:ext uri="{FF2B5EF4-FFF2-40B4-BE49-F238E27FC236}">
                    <a16:creationId xmlns:a16="http://schemas.microsoft.com/office/drawing/2014/main" id="{7C7E3610-1364-C96F-FDAF-2A37D05D3FD3}"/>
                  </a:ext>
                </a:extLst>
              </p:cNvPr>
              <p:cNvCxnSpPr>
                <a:cxnSpLocks/>
                <a:stCxn id="88" idx="2"/>
                <a:endCxn id="86" idx="0"/>
              </p:cNvCxnSpPr>
              <p:nvPr/>
            </p:nvCxnSpPr>
            <p:spPr>
              <a:xfrm flipH="1">
                <a:off x="2072917" y="2730716"/>
                <a:ext cx="5992863" cy="2532099"/>
              </a:xfrm>
              <a:prstGeom prst="straightConnector1">
                <a:avLst/>
              </a:prstGeom>
              <a:ln>
                <a:solidFill>
                  <a:srgbClr val="808000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D80167FD-F7B5-C2CE-8D56-3B73278D28DB}"/>
                  </a:ext>
                </a:extLst>
              </p:cNvPr>
              <p:cNvSpPr txBox="1"/>
              <p:nvPr/>
            </p:nvSpPr>
            <p:spPr>
              <a:xfrm>
                <a:off x="3004458" y="4142663"/>
                <a:ext cx="8704429" cy="477878"/>
              </a:xfrm>
              <a:prstGeom prst="rect">
                <a:avLst/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11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*To improve the precision</a:t>
                </a:r>
              </a:p>
              <a:p>
                <a:r>
                  <a:rPr lang="en-IN" sz="1100" dirty="0">
                    <a:latin typeface="Arial" panose="020B0604020202020204" pitchFamily="34" charset="0"/>
                    <a:cs typeface="Arial" panose="020B0604020202020204" pitchFamily="34" charset="0"/>
                  </a:rPr>
                  <a:t>Standardization of sample collection, preparation and testing methods is to be done</a:t>
                </a:r>
              </a:p>
            </p:txBody>
          </p:sp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EED402A9-854A-FC7C-1259-674D87B1DAC1}"/>
                  </a:ext>
                </a:extLst>
              </p:cNvPr>
              <p:cNvSpPr txBox="1"/>
              <p:nvPr/>
            </p:nvSpPr>
            <p:spPr>
              <a:xfrm>
                <a:off x="8627482" y="5251608"/>
                <a:ext cx="3081405" cy="814305"/>
              </a:xfrm>
              <a:prstGeom prst="rect">
                <a:avLst/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en-IN" sz="1050" b="1" dirty="0">
                    <a:solidFill>
                      <a:schemeClr val="tx1"/>
                    </a:solidFill>
                    <a:highlight>
                      <a:srgbClr val="CA6D6A"/>
                    </a:highlight>
                    <a:latin typeface="Arial" panose="020B0604020202020204" pitchFamily="34" charset="0"/>
                    <a:cs typeface="Arial" panose="020B0604020202020204" pitchFamily="34" charset="0"/>
                  </a:rPr>
                  <a:t>Case 3: </a:t>
                </a:r>
                <a:r>
                  <a:rPr lang="en-IN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If we reduce the *V</a:t>
                </a:r>
                <a:r>
                  <a:rPr lang="en-IN" sz="1050" baseline="-25000" dirty="0">
                    <a:latin typeface="Arial" panose="020B0604020202020204" pitchFamily="34" charset="0"/>
                    <a:cs typeface="Arial" panose="020B0604020202020204" pitchFamily="34" charset="0"/>
                  </a:rPr>
                  <a:t>PT</a:t>
                </a:r>
                <a:r>
                  <a:rPr lang="en-IN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 from 0.2</a:t>
                </a:r>
                <a:r>
                  <a:rPr lang="en-IN" sz="1050" dirty="0">
                    <a:latin typeface="Arial" panose="020B0604020202020204" pitchFamily="34" charset="0"/>
                    <a:cs typeface="Arial" panose="020B0604020202020204" pitchFamily="34" charset="0"/>
                    <a:sym typeface="Wingdings" panose="05000000000000000000" pitchFamily="2" charset="2"/>
                  </a:rPr>
                  <a:t></a:t>
                </a:r>
                <a:r>
                  <a:rPr lang="en-IN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 0.10 the tolerance can be reduced to +/-0.48 </a:t>
                </a:r>
              </a:p>
              <a:p>
                <a:endParaRPr lang="en-IN" sz="10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6A8E7709-25D7-EE92-4DED-D4DCC61AFFCF}"/>
                  </a:ext>
                </a:extLst>
              </p:cNvPr>
              <p:cNvSpPr txBox="1"/>
              <p:nvPr/>
            </p:nvSpPr>
            <p:spPr>
              <a:xfrm>
                <a:off x="4201763" y="5251610"/>
                <a:ext cx="4350311" cy="814305"/>
              </a:xfrm>
              <a:prstGeom prst="rect">
                <a:avLst/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en-IN" sz="1050" b="1" dirty="0">
                    <a:highlight>
                      <a:srgbClr val="4F81BD"/>
                    </a:highlight>
                    <a:latin typeface="Arial" panose="020B0604020202020204" pitchFamily="34" charset="0"/>
                    <a:cs typeface="Arial" panose="020B0604020202020204" pitchFamily="34" charset="0"/>
                  </a:rPr>
                  <a:t>Case:2 </a:t>
                </a:r>
                <a:r>
                  <a:rPr lang="en-IN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If we increasing the *no of sublot to 8</a:t>
                </a:r>
                <a:r>
                  <a:rPr lang="en-IN" sz="1050" dirty="0">
                    <a:latin typeface="Arial" panose="020B0604020202020204" pitchFamily="34" charset="0"/>
                    <a:cs typeface="Arial" panose="020B0604020202020204" pitchFamily="34" charset="0"/>
                    <a:sym typeface="Wingdings" panose="05000000000000000000" pitchFamily="2" charset="2"/>
                  </a:rPr>
                  <a:t>’m value’</a:t>
                </a:r>
                <a:r>
                  <a:rPr lang="en-IN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 keeping V</a:t>
                </a:r>
                <a:r>
                  <a:rPr lang="en-IN" sz="1050" baseline="-25000" dirty="0">
                    <a:latin typeface="Arial" panose="020B0604020202020204" pitchFamily="34" charset="0"/>
                    <a:cs typeface="Arial" panose="020B0604020202020204" pitchFamily="34" charset="0"/>
                  </a:rPr>
                  <a:t>PT</a:t>
                </a:r>
                <a:r>
                  <a:rPr lang="en-IN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 at 0.2, the tolerance can be reduced to +/-0.48</a:t>
                </a:r>
              </a:p>
              <a:p>
                <a:endParaRPr lang="en-IN" sz="10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ECCAE4D4-AF1B-3746-9ED4-E79612D41FCC}"/>
                  </a:ext>
                </a:extLst>
              </p:cNvPr>
              <p:cNvSpPr txBox="1"/>
              <p:nvPr/>
            </p:nvSpPr>
            <p:spPr>
              <a:xfrm>
                <a:off x="19478" y="5262816"/>
                <a:ext cx="4106879" cy="814305"/>
              </a:xfrm>
              <a:prstGeom prst="rect">
                <a:avLst/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en-IN" sz="1050" b="1" dirty="0">
                    <a:highlight>
                      <a:srgbClr val="808000"/>
                    </a:highlight>
                    <a:latin typeface="Arial" panose="020B0604020202020204" pitchFamily="34" charset="0"/>
                    <a:cs typeface="Arial" panose="020B0604020202020204" pitchFamily="34" charset="0"/>
                  </a:rPr>
                  <a:t>Case:1</a:t>
                </a:r>
                <a:r>
                  <a:rPr lang="en-IN" sz="1050" dirty="0">
                    <a:highlight>
                      <a:srgbClr val="808000"/>
                    </a:highlight>
                    <a:latin typeface="Arial" panose="020B0604020202020204" pitchFamily="34" charset="0"/>
                    <a:cs typeface="Arial" panose="020B0604020202020204" pitchFamily="34" charset="0"/>
                  </a:rPr>
                  <a:t>  </a:t>
                </a:r>
                <a:r>
                  <a:rPr lang="en-IN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If Increasing the *no of increments per sublots from 12 to 20 the tolerance can be reduced to  +/-0.48 keeping others constant </a:t>
                </a:r>
              </a:p>
            </p:txBody>
          </p:sp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6FA944D2-DEE4-F54E-DBC3-E88D866FF8D4}"/>
                  </a:ext>
                </a:extLst>
              </p:cNvPr>
              <p:cNvSpPr txBox="1"/>
              <p:nvPr/>
            </p:nvSpPr>
            <p:spPr>
              <a:xfrm>
                <a:off x="8104338" y="2775117"/>
                <a:ext cx="506123" cy="221857"/>
              </a:xfrm>
              <a:prstGeom prst="rect">
                <a:avLst/>
              </a:prstGeom>
              <a:noFill/>
              <a:ln w="19050">
                <a:solidFill>
                  <a:srgbClr val="4F81BD"/>
                </a:solidFill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endParaRPr lang="en-IN" dirty="0"/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6D77E93A-A78C-1FE9-FCC2-0D8C48BFB7E1}"/>
                  </a:ext>
                </a:extLst>
              </p:cNvPr>
              <p:cNvSpPr txBox="1"/>
              <p:nvPr/>
            </p:nvSpPr>
            <p:spPr>
              <a:xfrm>
                <a:off x="7869511" y="2520605"/>
                <a:ext cx="392537" cy="210111"/>
              </a:xfrm>
              <a:prstGeom prst="rect">
                <a:avLst/>
              </a:prstGeom>
              <a:noFill/>
              <a:ln w="19050">
                <a:solidFill>
                  <a:srgbClr val="808000"/>
                </a:solidFill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endParaRPr lang="en-IN" dirty="0"/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ACE530FC-2AD9-2C12-D0B5-336D62119A23}"/>
                  </a:ext>
                </a:extLst>
              </p:cNvPr>
              <p:cNvSpPr txBox="1"/>
              <p:nvPr/>
            </p:nvSpPr>
            <p:spPr>
              <a:xfrm>
                <a:off x="8419852" y="2363428"/>
                <a:ext cx="506122" cy="221857"/>
              </a:xfrm>
              <a:prstGeom prst="rect">
                <a:avLst/>
              </a:prstGeom>
              <a:noFill/>
              <a:ln w="19050">
                <a:solidFill>
                  <a:srgbClr val="C25653"/>
                </a:solidFill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endParaRPr lang="en-IN" dirty="0"/>
              </a:p>
            </p:txBody>
          </p:sp>
        </p:grpSp>
      </p:grpSp>
      <p:sp>
        <p:nvSpPr>
          <p:cNvPr id="146" name="Arrow: Right 145">
            <a:extLst>
              <a:ext uri="{FF2B5EF4-FFF2-40B4-BE49-F238E27FC236}">
                <a16:creationId xmlns:a16="http://schemas.microsoft.com/office/drawing/2014/main" id="{FC416E67-06FF-BBC4-9B4A-E47F4CF10A35}"/>
              </a:ext>
            </a:extLst>
          </p:cNvPr>
          <p:cNvSpPr/>
          <p:nvPr/>
        </p:nvSpPr>
        <p:spPr>
          <a:xfrm rot="5400000">
            <a:off x="5857663" y="2086279"/>
            <a:ext cx="390488" cy="24824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Action Button: Go Forward or Next 1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id="{1A8368BF-4B8D-FC6D-420E-4EFED6218288}"/>
              </a:ext>
            </a:extLst>
          </p:cNvPr>
          <p:cNvSpPr/>
          <p:nvPr/>
        </p:nvSpPr>
        <p:spPr>
          <a:xfrm>
            <a:off x="11937674" y="944419"/>
            <a:ext cx="132162" cy="109841"/>
          </a:xfrm>
          <a:prstGeom prst="actionButtonForwardNex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78F8945E-2C9A-0D8E-8B15-0B1E011354FA}"/>
              </a:ext>
            </a:extLst>
          </p:cNvPr>
          <p:cNvCxnSpPr/>
          <p:nvPr/>
        </p:nvCxnSpPr>
        <p:spPr>
          <a:xfrm>
            <a:off x="11876188" y="2300686"/>
            <a:ext cx="0" cy="3809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4E6D98A0-115F-B9CE-4F49-393DAE2EBE7B}"/>
              </a:ext>
            </a:extLst>
          </p:cNvPr>
          <p:cNvSpPr txBox="1"/>
          <p:nvPr/>
        </p:nvSpPr>
        <p:spPr>
          <a:xfrm>
            <a:off x="11189056" y="2647210"/>
            <a:ext cx="11154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b="1" dirty="0">
                <a:latin typeface="Arial" panose="020B0604020202020204" pitchFamily="34" charset="0"/>
                <a:cs typeface="Arial" panose="020B0604020202020204" pitchFamily="34" charset="0"/>
              </a:rPr>
              <a:t>Aspirational target</a:t>
            </a:r>
          </a:p>
        </p:txBody>
      </p:sp>
    </p:spTree>
    <p:extLst>
      <p:ext uri="{BB962C8B-B14F-4D97-AF65-F5344CB8AC3E}">
        <p14:creationId xmlns:p14="http://schemas.microsoft.com/office/powerpoint/2010/main" val="36667297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1CABE7E-5FBA-45B8-9888-F11F837CAA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3036" y="186792"/>
            <a:ext cx="1174592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Aft>
                <a:spcPct val="6000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3000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─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3000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6500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500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500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500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500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b="1">
                <a:solidFill>
                  <a:srgbClr val="3D7EDB"/>
                </a:solidFill>
              </a:rPr>
              <a:t>Imported Value Chain – Material Flow</a:t>
            </a:r>
            <a:endParaRPr kumimoji="0" lang="en-US" altLang="en-US" b="1" i="0" u="none" strike="noStrike" kern="1200" cap="none" spc="0" normalizeH="0" baseline="0" noProof="0">
              <a:ln>
                <a:noFill/>
              </a:ln>
              <a:solidFill>
                <a:srgbClr val="3D7EDB"/>
              </a:solidFill>
              <a:effectLst/>
              <a:uLnTx/>
              <a:uFillTx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F43B419-119C-CD04-0E3E-1CC914BDCF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634" y="881612"/>
            <a:ext cx="10516977" cy="5789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5169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9" name="think-cell data - do not delete" hidden="1">
            <a:extLst>
              <a:ext uri="{FF2B5EF4-FFF2-40B4-BE49-F238E27FC236}">
                <a16:creationId xmlns:a16="http://schemas.microsoft.com/office/drawing/2014/main" id="{2A077EFC-C7DF-6062-B804-7933F28153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9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077EFC-C7DF-6062-B804-7933F28153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51DAC85C-7051-5343-331C-A0BE43C6D9C6}"/>
              </a:ext>
            </a:extLst>
          </p:cNvPr>
          <p:cNvCxnSpPr>
            <a:cxnSpLocks/>
            <a:stCxn id="3" idx="3"/>
            <a:endCxn id="15" idx="1"/>
          </p:cNvCxnSpPr>
          <p:nvPr/>
        </p:nvCxnSpPr>
        <p:spPr>
          <a:xfrm flipV="1">
            <a:off x="2494180" y="2239119"/>
            <a:ext cx="1684534" cy="13724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6F7F4420-D1B6-42A3-11E0-0708DF186438}"/>
              </a:ext>
            </a:extLst>
          </p:cNvPr>
          <p:cNvSpPr txBox="1"/>
          <p:nvPr/>
        </p:nvSpPr>
        <p:spPr>
          <a:xfrm>
            <a:off x="223520" y="203200"/>
            <a:ext cx="118867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estic coal - reported ash% comparison study WB vs plant sites -            </a:t>
            </a: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  Feb’23-April’23	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9444D7D-D5AC-BECE-C406-6486C5BC5752}"/>
              </a:ext>
            </a:extLst>
          </p:cNvPr>
          <p:cNvSpPr/>
          <p:nvPr/>
        </p:nvSpPr>
        <p:spPr>
          <a:xfrm>
            <a:off x="226655" y="767418"/>
            <a:ext cx="6143864" cy="364015"/>
          </a:xfrm>
          <a:prstGeom prst="rect">
            <a:avLst/>
          </a:prstGeom>
          <a:solidFill>
            <a:srgbClr val="F2F2F2"/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b="1">
                <a:solidFill>
                  <a:srgbClr val="000000"/>
                </a:solidFill>
                <a:latin typeface="Arial Narrow" panose="020B0606020202030204" pitchFamily="34" charset="0"/>
                <a:cs typeface="Arial"/>
              </a:rPr>
              <a:t>Domestic Coal-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Comparison of deviations with </a:t>
            </a:r>
            <a:r>
              <a:rPr lang="en-US" sz="1600" b="1">
                <a:solidFill>
                  <a:srgbClr val="000000"/>
                </a:solidFill>
                <a:latin typeface="Arial Narrow" panose="020B0606020202030204" pitchFamily="34" charset="0"/>
                <a:cs typeface="Arial"/>
              </a:rPr>
              <a:t>current &amp;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 proposed set </a:t>
            </a:r>
            <a:r>
              <a:rPr lang="en-US" sz="1600" b="1">
                <a:solidFill>
                  <a:srgbClr val="000000"/>
                </a:solidFill>
                <a:latin typeface="Arial Narrow" panose="020B0606020202030204" pitchFamily="34" charset="0"/>
                <a:cs typeface="Arial"/>
              </a:rPr>
              <a:t>point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6A08E41-03FF-AE06-1D04-6246CCE747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78714" y="2059119"/>
            <a:ext cx="720000" cy="360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732488D-CBE4-BFE6-7350-0EB22B82CB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78714" y="3403371"/>
            <a:ext cx="720000" cy="360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FEA0999-BEFB-4441-DA9D-3C767A18514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78714" y="4747623"/>
            <a:ext cx="720000" cy="360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8" name="Left Brace 7">
            <a:extLst>
              <a:ext uri="{FF2B5EF4-FFF2-40B4-BE49-F238E27FC236}">
                <a16:creationId xmlns:a16="http://schemas.microsoft.com/office/drawing/2014/main" id="{641832C4-A8C8-56DA-60FC-149E9E5D6D39}"/>
              </a:ext>
            </a:extLst>
          </p:cNvPr>
          <p:cNvSpPr/>
          <p:nvPr/>
        </p:nvSpPr>
        <p:spPr>
          <a:xfrm rot="10800000">
            <a:off x="1409026" y="3247857"/>
            <a:ext cx="246300" cy="830997"/>
          </a:xfrm>
          <a:prstGeom prst="lef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4A790CE-2A35-6F6D-1C92-74BF2F25FB8B}"/>
              </a:ext>
            </a:extLst>
          </p:cNvPr>
          <p:cNvCxnSpPr>
            <a:cxnSpLocks/>
            <a:stCxn id="3" idx="3"/>
            <a:endCxn id="17" idx="1"/>
          </p:cNvCxnSpPr>
          <p:nvPr/>
        </p:nvCxnSpPr>
        <p:spPr>
          <a:xfrm>
            <a:off x="2494180" y="3611561"/>
            <a:ext cx="1684534" cy="13160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D5B64832-DF61-CA05-CECC-021A7E755B9B}"/>
              </a:ext>
            </a:extLst>
          </p:cNvPr>
          <p:cNvSpPr txBox="1"/>
          <p:nvPr/>
        </p:nvSpPr>
        <p:spPr>
          <a:xfrm>
            <a:off x="4252199" y="2545434"/>
            <a:ext cx="573030" cy="25433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lIns="84235" tIns="42117" rIns="84235" bIns="42117" rtlCol="0">
            <a:spAutoFit/>
          </a:bodyPr>
          <a:lstStyle/>
          <a:p>
            <a:pPr algn="ctr">
              <a:defRPr/>
            </a:pPr>
            <a:r>
              <a:rPr lang="en-IN" sz="1100">
                <a:solidFill>
                  <a:srgbClr val="000000"/>
                </a:solidFill>
                <a:latin typeface="Arial" pitchFamily="34" charset="0"/>
              </a:rPr>
              <a:t>TSJ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F8774B4-2E61-C47C-0751-BE77DD48583E}"/>
              </a:ext>
            </a:extLst>
          </p:cNvPr>
          <p:cNvSpPr txBox="1"/>
          <p:nvPr/>
        </p:nvSpPr>
        <p:spPr>
          <a:xfrm>
            <a:off x="4250714" y="3884978"/>
            <a:ext cx="576000" cy="216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lIns="84235" tIns="42117" rIns="84235" bIns="42117" rtlCol="0">
            <a:spAutoFit/>
          </a:bodyPr>
          <a:lstStyle>
            <a:defPPr>
              <a:defRPr lang="en-GB"/>
            </a:defPPr>
            <a:lvl1pPr algn="ctr">
              <a:defRPr sz="1400"/>
            </a:lvl1pPr>
          </a:lstStyle>
          <a:p>
            <a:r>
              <a:rPr lang="en-IN" sz="1100">
                <a:solidFill>
                  <a:srgbClr val="000000"/>
                </a:solidFill>
                <a:latin typeface="Arial" pitchFamily="34" charset="0"/>
              </a:rPr>
              <a:t>TSK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34B1148-E378-CBAC-A5AE-E13972450613}"/>
              </a:ext>
            </a:extLst>
          </p:cNvPr>
          <p:cNvSpPr txBox="1"/>
          <p:nvPr/>
        </p:nvSpPr>
        <p:spPr>
          <a:xfrm>
            <a:off x="4250714" y="5233924"/>
            <a:ext cx="576000" cy="25433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lIns="84235" tIns="42117" rIns="84235" bIns="42117" rtlCol="0">
            <a:spAutoFit/>
          </a:bodyPr>
          <a:lstStyle>
            <a:defPPr>
              <a:defRPr lang="en-GB"/>
            </a:defPPr>
            <a:lvl1pPr algn="ctr">
              <a:defRPr sz="1400"/>
            </a:lvl1pPr>
          </a:lstStyle>
          <a:p>
            <a:r>
              <a:rPr lang="en-IN" sz="1100">
                <a:solidFill>
                  <a:srgbClr val="000000"/>
                </a:solidFill>
                <a:latin typeface="Arial" pitchFamily="34" charset="0"/>
              </a:rPr>
              <a:t>TSM</a:t>
            </a:r>
            <a:endParaRPr lang="en-IN" sz="10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A2E3DD0-D072-8C05-7955-49716578A4BF}"/>
              </a:ext>
            </a:extLst>
          </p:cNvPr>
          <p:cNvSpPr txBox="1"/>
          <p:nvPr/>
        </p:nvSpPr>
        <p:spPr>
          <a:xfrm>
            <a:off x="5035054" y="2100619"/>
            <a:ext cx="1302770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No of Rakes-81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1302FC4-6962-C2A9-D9C4-9EBABB3F1B01}"/>
              </a:ext>
            </a:extLst>
          </p:cNvPr>
          <p:cNvSpPr txBox="1"/>
          <p:nvPr/>
        </p:nvSpPr>
        <p:spPr>
          <a:xfrm>
            <a:off x="5047256" y="3444871"/>
            <a:ext cx="1302770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No of Rakes-41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4B7BE6F-0256-C72E-67E7-E7156A5A7E39}"/>
              </a:ext>
            </a:extLst>
          </p:cNvPr>
          <p:cNvSpPr txBox="1"/>
          <p:nvPr/>
        </p:nvSpPr>
        <p:spPr>
          <a:xfrm>
            <a:off x="5047256" y="4747623"/>
            <a:ext cx="1302770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No of Rakes-59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2" name="Rectangle: Rounded Corners 31">
                <a:extLst>
                  <a:ext uri="{FF2B5EF4-FFF2-40B4-BE49-F238E27FC236}">
                    <a16:creationId xmlns:a16="http://schemas.microsoft.com/office/drawing/2014/main" id="{B06B23EF-0A66-732C-A42C-71C89AA13E34}"/>
                  </a:ext>
                </a:extLst>
              </p:cNvPr>
              <p:cNvSpPr/>
              <p:nvPr/>
            </p:nvSpPr>
            <p:spPr>
              <a:xfrm>
                <a:off x="6452113" y="1192654"/>
                <a:ext cx="2143760" cy="488629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IN" sz="1200">
                    <a:latin typeface="Arial" panose="020B0604020202020204" pitchFamily="34" charset="0"/>
                    <a:cs typeface="Arial" panose="020B0604020202020204" pitchFamily="34" charset="0"/>
                  </a:rPr>
                  <a:t>With Current tolerance limit </a:t>
                </a:r>
                <a14:m>
                  <m:oMath xmlns:m="http://schemas.openxmlformats.org/officeDocument/2006/math">
                    <m:r>
                      <a:rPr lang="en-IN" sz="12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±</m:t>
                    </m:r>
                  </m:oMath>
                </a14:m>
                <a:r>
                  <a:rPr lang="en-IN" sz="1200">
                    <a:latin typeface="Arial" panose="020B0604020202020204" pitchFamily="34" charset="0"/>
                    <a:cs typeface="Arial" panose="020B0604020202020204" pitchFamily="34" charset="0"/>
                  </a:rPr>
                  <a:t>0.28 </a:t>
                </a:r>
              </a:p>
            </p:txBody>
          </p:sp>
        </mc:Choice>
        <mc:Fallback xmlns="">
          <p:sp>
            <p:nvSpPr>
              <p:cNvPr id="32" name="Rectangle: Rounded Corners 31">
                <a:extLst>
                  <a:ext uri="{FF2B5EF4-FFF2-40B4-BE49-F238E27FC236}">
                    <a16:creationId xmlns:a16="http://schemas.microsoft.com/office/drawing/2014/main" id="{B06B23EF-0A66-732C-A42C-71C89AA13E3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52113" y="1192654"/>
                <a:ext cx="2143760" cy="488629"/>
              </a:xfrm>
              <a:prstGeom prst="roundRect">
                <a:avLst/>
              </a:prstGeom>
              <a:blipFill>
                <a:blip r:embed="rId6"/>
                <a:stretch>
                  <a:fillRect b="-2381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Rectangle: Rounded Corners 32">
                <a:extLst>
                  <a:ext uri="{FF2B5EF4-FFF2-40B4-BE49-F238E27FC236}">
                    <a16:creationId xmlns:a16="http://schemas.microsoft.com/office/drawing/2014/main" id="{FF9E06DC-AD74-0FE9-D698-862B86502F16}"/>
                  </a:ext>
                </a:extLst>
              </p:cNvPr>
              <p:cNvSpPr/>
              <p:nvPr/>
            </p:nvSpPr>
            <p:spPr>
              <a:xfrm>
                <a:off x="9239990" y="1192654"/>
                <a:ext cx="2197871" cy="488629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IN" sz="1200">
                    <a:latin typeface="Arial" panose="020B0604020202020204" pitchFamily="34" charset="0"/>
                    <a:cs typeface="Arial" panose="020B0604020202020204" pitchFamily="34" charset="0"/>
                  </a:rPr>
                  <a:t>With proposed tolerance limit </a:t>
                </a:r>
                <a14:m>
                  <m:oMath xmlns:m="http://schemas.openxmlformats.org/officeDocument/2006/math">
                    <m:r>
                      <a:rPr lang="en-IN" sz="12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±</m:t>
                    </m:r>
                  </m:oMath>
                </a14:m>
                <a:r>
                  <a:rPr lang="en-IN" sz="1200">
                    <a:latin typeface="Arial" panose="020B0604020202020204" pitchFamily="34" charset="0"/>
                    <a:cs typeface="Arial" panose="020B0604020202020204" pitchFamily="34" charset="0"/>
                  </a:rPr>
                  <a:t>0.55 </a:t>
                </a:r>
              </a:p>
            </p:txBody>
          </p:sp>
        </mc:Choice>
        <mc:Fallback xmlns="">
          <p:sp>
            <p:nvSpPr>
              <p:cNvPr id="33" name="Rectangle: Rounded Corners 32">
                <a:extLst>
                  <a:ext uri="{FF2B5EF4-FFF2-40B4-BE49-F238E27FC236}">
                    <a16:creationId xmlns:a16="http://schemas.microsoft.com/office/drawing/2014/main" id="{FF9E06DC-AD74-0FE9-D698-862B86502F1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39990" y="1192654"/>
                <a:ext cx="2197871" cy="488629"/>
              </a:xfrm>
              <a:prstGeom prst="roundRect">
                <a:avLst/>
              </a:prstGeom>
              <a:blipFill>
                <a:blip r:embed="rId7"/>
                <a:stretch>
                  <a:fillRect b="-2381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" name="TextBox 33">
            <a:extLst>
              <a:ext uri="{FF2B5EF4-FFF2-40B4-BE49-F238E27FC236}">
                <a16:creationId xmlns:a16="http://schemas.microsoft.com/office/drawing/2014/main" id="{120DAD08-E9DB-C647-C648-1CA307CDB8D7}"/>
              </a:ext>
            </a:extLst>
          </p:cNvPr>
          <p:cNvSpPr txBox="1"/>
          <p:nvPr/>
        </p:nvSpPr>
        <p:spPr>
          <a:xfrm>
            <a:off x="6464895" y="1941846"/>
            <a:ext cx="2130977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No of Rakes outside limit -80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7C8180E-C67C-F37F-3E08-A1A2D09360C2}"/>
              </a:ext>
            </a:extLst>
          </p:cNvPr>
          <p:cNvSpPr txBox="1"/>
          <p:nvPr/>
        </p:nvSpPr>
        <p:spPr>
          <a:xfrm>
            <a:off x="6464895" y="3286097"/>
            <a:ext cx="2130977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No of Rakes outside limit -21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70B2DE5-7B04-5B68-3463-D78F99B86149}"/>
              </a:ext>
            </a:extLst>
          </p:cNvPr>
          <p:cNvSpPr txBox="1"/>
          <p:nvPr/>
        </p:nvSpPr>
        <p:spPr>
          <a:xfrm>
            <a:off x="6464895" y="4586904"/>
            <a:ext cx="2130977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No of Rakes outside limit -37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A6A523C-7A10-0BCD-9B0B-9E307B395B47}"/>
              </a:ext>
            </a:extLst>
          </p:cNvPr>
          <p:cNvSpPr txBox="1"/>
          <p:nvPr/>
        </p:nvSpPr>
        <p:spPr>
          <a:xfrm>
            <a:off x="9239990" y="1941846"/>
            <a:ext cx="2130977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No of Rakes outside limit -77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42019C8-AD25-A834-801B-B08832E3E973}"/>
              </a:ext>
            </a:extLst>
          </p:cNvPr>
          <p:cNvSpPr txBox="1"/>
          <p:nvPr/>
        </p:nvSpPr>
        <p:spPr>
          <a:xfrm>
            <a:off x="9243930" y="3268323"/>
            <a:ext cx="2130977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No of Rakes outside limit -6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08E3172-4CC4-2B98-F9BC-4229BBD76B10}"/>
              </a:ext>
            </a:extLst>
          </p:cNvPr>
          <p:cNvSpPr txBox="1"/>
          <p:nvPr/>
        </p:nvSpPr>
        <p:spPr>
          <a:xfrm>
            <a:off x="9239990" y="4586903"/>
            <a:ext cx="2130977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No of Rakes outside limit -21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93437F5-4662-D13C-CC2D-C1D59DF1D145}"/>
              </a:ext>
            </a:extLst>
          </p:cNvPr>
          <p:cNvSpPr txBox="1"/>
          <p:nvPr/>
        </p:nvSpPr>
        <p:spPr>
          <a:xfrm>
            <a:off x="6464895" y="2277075"/>
            <a:ext cx="2130977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% Rakes outside limit -99%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235F280-F663-41C2-5256-4669DDF06277}"/>
              </a:ext>
            </a:extLst>
          </p:cNvPr>
          <p:cNvSpPr txBox="1"/>
          <p:nvPr/>
        </p:nvSpPr>
        <p:spPr>
          <a:xfrm>
            <a:off x="6464895" y="3660845"/>
            <a:ext cx="2130977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% Rakes outside limit -51%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9218493-1E8C-A105-6C2D-008EE5E9532E}"/>
              </a:ext>
            </a:extLst>
          </p:cNvPr>
          <p:cNvSpPr txBox="1"/>
          <p:nvPr/>
        </p:nvSpPr>
        <p:spPr>
          <a:xfrm>
            <a:off x="6464895" y="4930206"/>
            <a:ext cx="2130977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% Rakes outside limit -63%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7B17170-48A0-91C1-9897-2AAF0C8FED16}"/>
              </a:ext>
            </a:extLst>
          </p:cNvPr>
          <p:cNvSpPr txBox="1"/>
          <p:nvPr/>
        </p:nvSpPr>
        <p:spPr>
          <a:xfrm>
            <a:off x="9239990" y="2299672"/>
            <a:ext cx="2130977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% Rakes outside limit -95%</a:t>
            </a:r>
            <a:endParaRPr lang="en-IN" sz="12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B876E2D-F972-F769-136B-8E2BD016D15F}"/>
              </a:ext>
            </a:extLst>
          </p:cNvPr>
          <p:cNvSpPr txBox="1"/>
          <p:nvPr/>
        </p:nvSpPr>
        <p:spPr>
          <a:xfrm>
            <a:off x="9242280" y="3638781"/>
            <a:ext cx="2130977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% Rakes outside limit -15%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C2A4AEE-F16A-A2FC-E613-FC1D270C44D1}"/>
              </a:ext>
            </a:extLst>
          </p:cNvPr>
          <p:cNvSpPr txBox="1"/>
          <p:nvPr/>
        </p:nvSpPr>
        <p:spPr>
          <a:xfrm>
            <a:off x="9228643" y="4941533"/>
            <a:ext cx="2130977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% Rakes outside limit -36%</a:t>
            </a:r>
          </a:p>
        </p:txBody>
      </p:sp>
      <p:sp>
        <p:nvSpPr>
          <p:cNvPr id="52" name="Arrow: Down 51">
            <a:extLst>
              <a:ext uri="{FF2B5EF4-FFF2-40B4-BE49-F238E27FC236}">
                <a16:creationId xmlns:a16="http://schemas.microsoft.com/office/drawing/2014/main" id="{D8181AA1-4B2D-F658-999A-7D9C0A6337FA}"/>
              </a:ext>
            </a:extLst>
          </p:cNvPr>
          <p:cNvSpPr/>
          <p:nvPr/>
        </p:nvSpPr>
        <p:spPr>
          <a:xfrm>
            <a:off x="11481086" y="2138575"/>
            <a:ext cx="139596" cy="276999"/>
          </a:xfrm>
          <a:prstGeom prst="downArrow">
            <a:avLst/>
          </a:prstGeom>
          <a:ln>
            <a:solidFill>
              <a:srgbClr val="92D05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3" name="Arrow: Down 52">
            <a:extLst>
              <a:ext uri="{FF2B5EF4-FFF2-40B4-BE49-F238E27FC236}">
                <a16:creationId xmlns:a16="http://schemas.microsoft.com/office/drawing/2014/main" id="{BD4B20CF-E3E3-B6AE-9654-7A1692A03A34}"/>
              </a:ext>
            </a:extLst>
          </p:cNvPr>
          <p:cNvSpPr/>
          <p:nvPr/>
        </p:nvSpPr>
        <p:spPr>
          <a:xfrm>
            <a:off x="11481086" y="3466098"/>
            <a:ext cx="139596" cy="276999"/>
          </a:xfrm>
          <a:prstGeom prst="downArrow">
            <a:avLst/>
          </a:prstGeom>
          <a:ln>
            <a:solidFill>
              <a:srgbClr val="92D05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4" name="Arrow: Down 53">
            <a:extLst>
              <a:ext uri="{FF2B5EF4-FFF2-40B4-BE49-F238E27FC236}">
                <a16:creationId xmlns:a16="http://schemas.microsoft.com/office/drawing/2014/main" id="{DD7CD5BD-C228-F452-DFF9-26055AA83DC4}"/>
              </a:ext>
            </a:extLst>
          </p:cNvPr>
          <p:cNvSpPr/>
          <p:nvPr/>
        </p:nvSpPr>
        <p:spPr>
          <a:xfrm>
            <a:off x="11481086" y="4725402"/>
            <a:ext cx="139596" cy="276999"/>
          </a:xfrm>
          <a:prstGeom prst="downArrow">
            <a:avLst/>
          </a:prstGeom>
          <a:ln>
            <a:solidFill>
              <a:srgbClr val="92D05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5" name="Right Brace 54">
            <a:extLst>
              <a:ext uri="{FF2B5EF4-FFF2-40B4-BE49-F238E27FC236}">
                <a16:creationId xmlns:a16="http://schemas.microsoft.com/office/drawing/2014/main" id="{C45384B3-26BE-0720-6CFE-4815B9BCBB09}"/>
              </a:ext>
            </a:extLst>
          </p:cNvPr>
          <p:cNvSpPr/>
          <p:nvPr/>
        </p:nvSpPr>
        <p:spPr>
          <a:xfrm>
            <a:off x="8782189" y="1176774"/>
            <a:ext cx="324988" cy="4183098"/>
          </a:xfrm>
          <a:prstGeom prst="rightBrace">
            <a:avLst/>
          </a:prstGeom>
          <a:ln w="15875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b="1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A8AB93E-E16A-42B4-434B-FF27E642D774}"/>
              </a:ext>
            </a:extLst>
          </p:cNvPr>
          <p:cNvSpPr txBox="1"/>
          <p:nvPr/>
        </p:nvSpPr>
        <p:spPr>
          <a:xfrm>
            <a:off x="152104" y="3158119"/>
            <a:ext cx="1155122" cy="1015663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Total No of Rakes-181 domestic coal rake supplied to plant sites</a:t>
            </a:r>
          </a:p>
        </p:txBody>
      </p:sp>
      <p:sp>
        <p:nvSpPr>
          <p:cNvPr id="62" name="Left Brace 61">
            <a:extLst>
              <a:ext uri="{FF2B5EF4-FFF2-40B4-BE49-F238E27FC236}">
                <a16:creationId xmlns:a16="http://schemas.microsoft.com/office/drawing/2014/main" id="{61249D5F-BB35-6030-191D-3D16D3784BF2}"/>
              </a:ext>
            </a:extLst>
          </p:cNvPr>
          <p:cNvSpPr/>
          <p:nvPr/>
        </p:nvSpPr>
        <p:spPr>
          <a:xfrm rot="16200000">
            <a:off x="2089092" y="3680987"/>
            <a:ext cx="229013" cy="1117600"/>
          </a:xfrm>
          <a:prstGeom prst="lef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3" name="Left Brace 62">
            <a:extLst>
              <a:ext uri="{FF2B5EF4-FFF2-40B4-BE49-F238E27FC236}">
                <a16:creationId xmlns:a16="http://schemas.microsoft.com/office/drawing/2014/main" id="{462ADEBB-1522-5900-107E-10C2E14AC9B7}"/>
              </a:ext>
            </a:extLst>
          </p:cNvPr>
          <p:cNvSpPr/>
          <p:nvPr/>
        </p:nvSpPr>
        <p:spPr>
          <a:xfrm rot="5400000">
            <a:off x="4424207" y="1249495"/>
            <a:ext cx="229013" cy="1117600"/>
          </a:xfrm>
          <a:prstGeom prst="lef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200AF15-118F-94CB-D93E-1593CE9D1550}"/>
              </a:ext>
            </a:extLst>
          </p:cNvPr>
          <p:cNvSpPr txBox="1"/>
          <p:nvPr/>
        </p:nvSpPr>
        <p:spPr>
          <a:xfrm>
            <a:off x="1648583" y="4363581"/>
            <a:ext cx="13529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>
                <a:latin typeface="Arial" panose="020B0604020202020204" pitchFamily="34" charset="0"/>
                <a:cs typeface="Arial" panose="020B0604020202020204" pitchFamily="34" charset="0"/>
              </a:rPr>
              <a:t>West Bokaro reported ash%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DC219964-800F-1218-6414-3A4C7F62B695}"/>
              </a:ext>
            </a:extLst>
          </p:cNvPr>
          <p:cNvSpPr txBox="1"/>
          <p:nvPr/>
        </p:nvSpPr>
        <p:spPr>
          <a:xfrm>
            <a:off x="3704277" y="1393208"/>
            <a:ext cx="17322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>
                <a:latin typeface="Arial" panose="020B0604020202020204" pitchFamily="34" charset="0"/>
                <a:cs typeface="Arial" panose="020B0604020202020204" pitchFamily="34" charset="0"/>
              </a:rPr>
              <a:t>Plant sites reported ash%</a:t>
            </a:r>
          </a:p>
        </p:txBody>
      </p:sp>
      <p:sp>
        <p:nvSpPr>
          <p:cNvPr id="68" name="Action Button: Go Forward or Next 67">
            <a:hlinkClick r:id="rId8" action="ppaction://hlinksldjump" highlightClick="1"/>
            <a:extLst>
              <a:ext uri="{FF2B5EF4-FFF2-40B4-BE49-F238E27FC236}">
                <a16:creationId xmlns:a16="http://schemas.microsoft.com/office/drawing/2014/main" id="{23E6472A-5FAF-65BD-5554-35BFB2A9C8B5}"/>
              </a:ext>
            </a:extLst>
          </p:cNvPr>
          <p:cNvSpPr/>
          <p:nvPr/>
        </p:nvSpPr>
        <p:spPr>
          <a:xfrm>
            <a:off x="11712428" y="2138575"/>
            <a:ext cx="233184" cy="196729"/>
          </a:xfrm>
          <a:prstGeom prst="actionButtonForwardNex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4" name="Action Button: Go Forward or Next 103">
            <a:hlinkClick r:id="rId9" action="ppaction://hlinksldjump" highlightClick="1"/>
            <a:extLst>
              <a:ext uri="{FF2B5EF4-FFF2-40B4-BE49-F238E27FC236}">
                <a16:creationId xmlns:a16="http://schemas.microsoft.com/office/drawing/2014/main" id="{7F5BCBB3-2413-E245-9623-2A95760B9A49}"/>
              </a:ext>
            </a:extLst>
          </p:cNvPr>
          <p:cNvSpPr/>
          <p:nvPr/>
        </p:nvSpPr>
        <p:spPr>
          <a:xfrm>
            <a:off x="11712428" y="3434875"/>
            <a:ext cx="233184" cy="196729"/>
          </a:xfrm>
          <a:prstGeom prst="actionButtonForwardNex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5" name="Action Button: Go Forward or Next 104">
            <a:hlinkClick r:id="rId10" action="ppaction://hlinksldjump" highlightClick="1"/>
            <a:extLst>
              <a:ext uri="{FF2B5EF4-FFF2-40B4-BE49-F238E27FC236}">
                <a16:creationId xmlns:a16="http://schemas.microsoft.com/office/drawing/2014/main" id="{95920AB7-6966-C95B-D74F-9C47763BBA0E}"/>
              </a:ext>
            </a:extLst>
          </p:cNvPr>
          <p:cNvSpPr/>
          <p:nvPr/>
        </p:nvSpPr>
        <p:spPr>
          <a:xfrm>
            <a:off x="11700859" y="4769959"/>
            <a:ext cx="233184" cy="196729"/>
          </a:xfrm>
          <a:prstGeom prst="actionButtonForwardNex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C11F42E-C0D7-8E0A-3B48-EBB3142636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74180" y="3431561"/>
            <a:ext cx="720000" cy="360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2D9ABD98-E923-305F-C66F-BD6E79AAC92C}"/>
              </a:ext>
            </a:extLst>
          </p:cNvPr>
          <p:cNvCxnSpPr>
            <a:cxnSpLocks/>
            <a:stCxn id="3" idx="3"/>
            <a:endCxn id="16" idx="1"/>
          </p:cNvCxnSpPr>
          <p:nvPr/>
        </p:nvCxnSpPr>
        <p:spPr>
          <a:xfrm flipV="1">
            <a:off x="2494180" y="3583371"/>
            <a:ext cx="1684534" cy="281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ECC63632-95F6-778B-B5F3-2146E424E002}"/>
              </a:ext>
            </a:extLst>
          </p:cNvPr>
          <p:cNvSpPr txBox="1"/>
          <p:nvPr/>
        </p:nvSpPr>
        <p:spPr>
          <a:xfrm>
            <a:off x="116234" y="5481479"/>
            <a:ext cx="11233226" cy="58477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The Domestic coal supplied to plant sites also shows the sample implication as seen in imported coal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At our proposed tolerance of +/-0.55 noise in the system gets reduced by 30%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3C031D3-989A-F8C7-50A9-44BBDD0E4649}"/>
              </a:ext>
            </a:extLst>
          </p:cNvPr>
          <p:cNvSpPr txBox="1"/>
          <p:nvPr/>
        </p:nvSpPr>
        <p:spPr>
          <a:xfrm>
            <a:off x="1847665" y="3865811"/>
            <a:ext cx="573030" cy="25433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lIns="84235" tIns="42117" rIns="84235" bIns="42117" rtlCol="0">
            <a:spAutoFit/>
          </a:bodyPr>
          <a:lstStyle/>
          <a:p>
            <a:pPr algn="ctr">
              <a:defRPr/>
            </a:pPr>
            <a:r>
              <a:rPr lang="en-IN" sz="1100">
                <a:solidFill>
                  <a:srgbClr val="000000"/>
                </a:solidFill>
                <a:latin typeface="Arial" pitchFamily="34" charset="0"/>
              </a:rPr>
              <a:t>WB</a:t>
            </a:r>
          </a:p>
        </p:txBody>
      </p:sp>
    </p:spTree>
    <p:extLst>
      <p:ext uri="{BB962C8B-B14F-4D97-AF65-F5344CB8AC3E}">
        <p14:creationId xmlns:p14="http://schemas.microsoft.com/office/powerpoint/2010/main" val="25893115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A4369C86-52A3-D756-06E6-CD98FBFC2FCF}"/>
              </a:ext>
            </a:extLst>
          </p:cNvPr>
          <p:cNvSpPr txBox="1"/>
          <p:nvPr/>
        </p:nvSpPr>
        <p:spPr>
          <a:xfrm>
            <a:off x="308227" y="627259"/>
            <a:ext cx="51866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MPLE COLLECTION AND PREPARA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EEC6F4-5BAD-442E-2E88-766189541F60}"/>
              </a:ext>
            </a:extLst>
          </p:cNvPr>
          <p:cNvSpPr/>
          <p:nvPr/>
        </p:nvSpPr>
        <p:spPr>
          <a:xfrm>
            <a:off x="368053" y="994880"/>
            <a:ext cx="5463924" cy="2492903"/>
          </a:xfrm>
          <a:prstGeom prst="rect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marL="285750" indent="-285750" defTabSz="914400">
              <a:buFont typeface="Arial" panose="020B0604020202020204" pitchFamily="34" charset="0"/>
              <a:buChar char="•"/>
              <a:defRPr/>
            </a:pPr>
            <a:r>
              <a:rPr lang="en-IN" sz="12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Kgs of flight sample is collected as per ASTM standard and dispatched  </a:t>
            </a:r>
            <a:r>
              <a:rPr lang="en-IN" sz="12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ough courier services to CRMT lab.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flight sample is 1</a:t>
            </a:r>
            <a:r>
              <a:rPr kumimoji="0" lang="en-IN" sz="12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</a:t>
            </a: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assed through the -12.5mm sieve and oversize samples are crushed </a:t>
            </a:r>
            <a:r>
              <a:rPr kumimoji="0" lang="en-IN" sz="12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chanically (</a:t>
            </a:r>
            <a:r>
              <a:rPr kumimoji="0" lang="en-IN" sz="120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arlier Manual means was used</a:t>
            </a:r>
            <a:r>
              <a:rPr kumimoji="0" lang="en-IN" sz="12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using jaw crusher till all the samples passes through, followed by coning and quartering till sample is reduced to 2-2.5 kg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reduced 2-2.5 kgs is then crushed to -3.35 mm using jaw crusher and is passed through -3 mm sieve followed by Coning and quartering till sample is reduced to 0.2-0.25 kg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duced sample of 0.2-0.25 kgs, sample is kept in hot air oven for 1 hr at 105 deg. Celsius for removing the moistur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B952B9A-6309-C771-B6E9-FD1520C59575}"/>
              </a:ext>
            </a:extLst>
          </p:cNvPr>
          <p:cNvSpPr/>
          <p:nvPr/>
        </p:nvSpPr>
        <p:spPr>
          <a:xfrm>
            <a:off x="5971924" y="994880"/>
            <a:ext cx="5852023" cy="2492903"/>
          </a:xfrm>
          <a:prstGeom prst="rect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E31898C-1A80-05DE-5CF4-A1DBC5E3B3E2}"/>
              </a:ext>
            </a:extLst>
          </p:cNvPr>
          <p:cNvSpPr txBox="1"/>
          <p:nvPr/>
        </p:nvSpPr>
        <p:spPr>
          <a:xfrm>
            <a:off x="7780867" y="596157"/>
            <a:ext cx="42637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BSERV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2DB49A1-A92B-30BF-E544-1429FB74B7AB}"/>
              </a:ext>
            </a:extLst>
          </p:cNvPr>
          <p:cNvSpPr txBox="1"/>
          <p:nvPr/>
        </p:nvSpPr>
        <p:spPr>
          <a:xfrm>
            <a:off x="368053" y="132440"/>
            <a:ext cx="410825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200" b="1">
                <a:solidFill>
                  <a:srgbClr val="3D7EDB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TSJ</a:t>
            </a:r>
          </a:p>
        </p:txBody>
      </p:sp>
      <p:pic>
        <p:nvPicPr>
          <p:cNvPr id="6" name="Picture 5" descr="A circular object on the ground&#10;&#10;Description automatically generated">
            <a:extLst>
              <a:ext uri="{FF2B5EF4-FFF2-40B4-BE49-F238E27FC236}">
                <a16:creationId xmlns:a16="http://schemas.microsoft.com/office/drawing/2014/main" id="{38D9A09B-C592-CA35-FFBA-51DEFC541A6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0" t="25614" r="6105" b="19056"/>
          <a:stretch/>
        </p:blipFill>
        <p:spPr>
          <a:xfrm>
            <a:off x="394794" y="3888801"/>
            <a:ext cx="1939718" cy="262345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11" name="Picture 10" descr="A person pouring gravel into a tray&#10;&#10;Description automatically generated">
            <a:extLst>
              <a:ext uri="{FF2B5EF4-FFF2-40B4-BE49-F238E27FC236}">
                <a16:creationId xmlns:a16="http://schemas.microsoft.com/office/drawing/2014/main" id="{20EC354B-DB46-1D66-C063-1B50C443C9F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1293" y="3872958"/>
            <a:ext cx="1694643" cy="262345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14" name="Picture 13" descr="A person standing next to a blue machine&#10;&#10;Description automatically generated">
            <a:extLst>
              <a:ext uri="{FF2B5EF4-FFF2-40B4-BE49-F238E27FC236}">
                <a16:creationId xmlns:a16="http://schemas.microsoft.com/office/drawing/2014/main" id="{CC89F293-1523-E85C-5C44-0338E050B21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9095" y="3872958"/>
            <a:ext cx="1694643" cy="262345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18" name="Picture 17" descr="A person cleaning a floor&#10;&#10;Description automatically generated with medium confidence">
            <a:extLst>
              <a:ext uri="{FF2B5EF4-FFF2-40B4-BE49-F238E27FC236}">
                <a16:creationId xmlns:a16="http://schemas.microsoft.com/office/drawing/2014/main" id="{834857A6-6DC8-2078-96E0-FC951208271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7260" y="3872958"/>
            <a:ext cx="1723333" cy="262345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20" name="Picture 19" descr="A person pouring gravel into a metal box&#10;&#10;Description automatically generated">
            <a:extLst>
              <a:ext uri="{FF2B5EF4-FFF2-40B4-BE49-F238E27FC236}">
                <a16:creationId xmlns:a16="http://schemas.microsoft.com/office/drawing/2014/main" id="{DB51D04D-FA1C-817D-B98C-C9370198B2E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7374" y="3863555"/>
            <a:ext cx="1723333" cy="263285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22" name="Picture 21" descr="A person standing next to a bucket of cement&#10;&#10;Description automatically generated with medium confidence">
            <a:extLst>
              <a:ext uri="{FF2B5EF4-FFF2-40B4-BE49-F238E27FC236}">
                <a16:creationId xmlns:a16="http://schemas.microsoft.com/office/drawing/2014/main" id="{1824F00E-BF3F-47E7-D086-092936DEBA6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5176" y="3863555"/>
            <a:ext cx="1828824" cy="262345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10075A6-E38D-05BA-9F0D-B4847A226FF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4536" y="1104928"/>
            <a:ext cx="1534781" cy="2046374"/>
          </a:xfrm>
          <a:prstGeom prst="rect">
            <a:avLst/>
          </a:prstGeom>
          <a:ln w="285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5" name="Picture 4" descr="A person standing next to a blue machine&#10;&#10;Description automatically generated">
            <a:extLst>
              <a:ext uri="{FF2B5EF4-FFF2-40B4-BE49-F238E27FC236}">
                <a16:creationId xmlns:a16="http://schemas.microsoft.com/office/drawing/2014/main" id="{70191FF6-165E-B26B-1FD2-E5A0BE519E7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3598" y="1080742"/>
            <a:ext cx="1424668" cy="206767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5D2763E-D1CF-5552-7B42-8CE124A27D8C}"/>
              </a:ext>
            </a:extLst>
          </p:cNvPr>
          <p:cNvSpPr txBox="1"/>
          <p:nvPr/>
        </p:nvSpPr>
        <p:spPr>
          <a:xfrm>
            <a:off x="6897817" y="3118451"/>
            <a:ext cx="9589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efore</a:t>
            </a:r>
            <a:r>
              <a:rPr lang="en-US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D670FC8-9D11-7239-5E66-0CBBEE17B593}"/>
              </a:ext>
            </a:extLst>
          </p:cNvPr>
          <p:cNvSpPr txBox="1"/>
          <p:nvPr/>
        </p:nvSpPr>
        <p:spPr>
          <a:xfrm>
            <a:off x="10015392" y="3133432"/>
            <a:ext cx="761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Aft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5616B2-4A2C-C67F-96C1-3FEA484E2FD2}"/>
              </a:ext>
            </a:extLst>
          </p:cNvPr>
          <p:cNvSpPr txBox="1"/>
          <p:nvPr/>
        </p:nvSpPr>
        <p:spPr>
          <a:xfrm>
            <a:off x="368053" y="3503626"/>
            <a:ext cx="4322819" cy="33855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</a:lstStyle>
          <a:p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Sample Preparation of Imported Co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01B9A60-806C-C283-F360-D52A9A760B16}"/>
              </a:ext>
            </a:extLst>
          </p:cNvPr>
          <p:cNvSpPr txBox="1"/>
          <p:nvPr/>
        </p:nvSpPr>
        <p:spPr>
          <a:xfrm>
            <a:off x="9519920" y="1104928"/>
            <a:ext cx="1698459" cy="2129346"/>
          </a:xfrm>
          <a:prstGeom prst="rect">
            <a:avLst/>
          </a:prstGeom>
          <a:noFill/>
          <a:ln w="34925">
            <a:solidFill>
              <a:srgbClr val="FF0000"/>
            </a:solidFill>
            <a:prstDash val="dash"/>
          </a:ln>
        </p:spPr>
        <p:txBody>
          <a:bodyPr wrap="square" rtlCol="0"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29617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DF882369-D114-E9AC-55B0-C8D3EED85E9A}"/>
              </a:ext>
            </a:extLst>
          </p:cNvPr>
          <p:cNvSpPr txBox="1"/>
          <p:nvPr/>
        </p:nvSpPr>
        <p:spPr>
          <a:xfrm>
            <a:off x="250256" y="199274"/>
            <a:ext cx="114528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 chart for all grades difference in reporting at plant sites vs LP ash%</a:t>
            </a: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854BBCE-91B1-05B5-B420-B2F9B7BA1C68}"/>
              </a:ext>
            </a:extLst>
          </p:cNvPr>
          <p:cNvSpPr txBox="1"/>
          <p:nvPr/>
        </p:nvSpPr>
        <p:spPr>
          <a:xfrm>
            <a:off x="2008304" y="662477"/>
            <a:ext cx="3414487" cy="338554"/>
          </a:xfrm>
          <a:prstGeom prst="rect">
            <a:avLst/>
          </a:prstGeom>
          <a:solidFill>
            <a:srgbClr val="F2F2F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1600"/>
              <a:t>TSK - 305 rakes; Apr-23 to May-24</a:t>
            </a: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8210FF80-41E8-4686-DC9F-FC19383B18D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15781253"/>
              </p:ext>
            </p:extLst>
          </p:nvPr>
        </p:nvGraphicFramePr>
        <p:xfrm>
          <a:off x="496896" y="1057869"/>
          <a:ext cx="6437304" cy="48279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Graph" r:id="rId2" imgW="5943600" imgH="4457880" progId="STATISTICA.Graph">
                  <p:embed/>
                </p:oleObj>
              </mc:Choice>
              <mc:Fallback>
                <p:oleObj name="Graph" r:id="rId2" imgW="5943600" imgH="4457880" progId="STATISTICA.Graph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8210FF80-41E8-4686-DC9F-FC19383B18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496896" y="1057869"/>
                        <a:ext cx="6437304" cy="4827978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EC8839F5-6FB4-5F8D-D396-3D32D1814E6E}"/>
              </a:ext>
            </a:extLst>
          </p:cNvPr>
          <p:cNvSpPr txBox="1"/>
          <p:nvPr/>
        </p:nvSpPr>
        <p:spPr>
          <a:xfrm>
            <a:off x="344496" y="6005779"/>
            <a:ext cx="117676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>
                <a:latin typeface="Arial" panose="020B0604020202020204" pitchFamily="34" charset="0"/>
                <a:cs typeface="Arial" panose="020B0604020202020204" pitchFamily="34" charset="0"/>
              </a:rPr>
              <a:t>In TSK it is observed when LP reporting is changed from ABD</a:t>
            </a:r>
            <a:r>
              <a:rPr lang="en-IN" sz="140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en-IN" sz="1400">
                <a:latin typeface="Arial" panose="020B0604020202020204" pitchFamily="34" charset="0"/>
                <a:cs typeface="Arial" panose="020B0604020202020204" pitchFamily="34" charset="0"/>
              </a:rPr>
              <a:t> DB the values will come closer to reported values </a:t>
            </a:r>
          </a:p>
        </p:txBody>
      </p:sp>
    </p:spTree>
    <p:extLst>
      <p:ext uri="{BB962C8B-B14F-4D97-AF65-F5344CB8AC3E}">
        <p14:creationId xmlns:p14="http://schemas.microsoft.com/office/powerpoint/2010/main" val="20904217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07B3A3D5-1AF5-64C3-3411-164A3A53EF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3292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395" imgH="396" progId="TCLayout.ActiveDocument.1">
                  <p:embed/>
                </p:oleObj>
              </mc:Choice>
              <mc:Fallback>
                <p:oleObj name="think-cell Slide" r:id="rId55" imgW="395" imgH="396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B3A3D5-1AF5-64C3-3411-164A3A53EF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F6AD64BD-DD61-EE08-1970-EEB5A843CABF}"/>
              </a:ext>
            </a:extLst>
          </p:cNvPr>
          <p:cNvSpPr txBox="1"/>
          <p:nvPr/>
        </p:nvSpPr>
        <p:spPr>
          <a:xfrm>
            <a:off x="223520" y="198438"/>
            <a:ext cx="11582718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llinbah PCI reported ash% comparison study w.r.t reporting method </a:t>
            </a: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              March’23-April’24	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D966006B-6676-B877-AA42-BD1F9497206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6990100"/>
              </p:ext>
            </p:extLst>
          </p:nvPr>
        </p:nvGraphicFramePr>
        <p:xfrm>
          <a:off x="90488" y="488950"/>
          <a:ext cx="11736387" cy="2571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sp>
        <p:nvSpPr>
          <p:cNvPr id="311" name="Rectangle 310">
            <a:extLst>
              <a:ext uri="{FF2B5EF4-FFF2-40B4-BE49-F238E27FC236}">
                <a16:creationId xmlns:a16="http://schemas.microsoft.com/office/drawing/2014/main" id="{F88ED58A-0C7D-1A99-A577-3734A05D931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33413" y="2892425"/>
            <a:ext cx="136525" cy="6794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243FC3D-4D60-49DB-96F1-0573EC88D943}" type="datetime'''''''T''S0''''''2''T''''''W''S1''''''2''''''''0''''''''''''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2TWS120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66372AE1-687B-B825-1D72-2C1AE5A8A075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323975" y="2892425"/>
            <a:ext cx="136525" cy="6223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434AA76-BA34-47CE-91D0-F4413AB070A7}" type="datetime'T''''''''S''''''''''''''''''''''''''''''03TW''''''''''''S6''5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3TWS65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30" name="Rectangle 329">
            <a:extLst>
              <a:ext uri="{FF2B5EF4-FFF2-40B4-BE49-F238E27FC236}">
                <a16:creationId xmlns:a16="http://schemas.microsoft.com/office/drawing/2014/main" id="{E7DED3B5-9095-9966-C412-609301CAD1D4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2014538" y="2892425"/>
            <a:ext cx="136525" cy="5524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3A3652C-3200-4409-A3A8-6E545A36F818}" type="datetime'T''01N''''''''''''''HT''''''''31''''''''''''''''''''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01NHT31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31" name="Rectangle 330">
            <a:extLst>
              <a:ext uri="{FF2B5EF4-FFF2-40B4-BE49-F238E27FC236}">
                <a16:creationId xmlns:a16="http://schemas.microsoft.com/office/drawing/2014/main" id="{E125A540-70AD-BDA4-9075-2A41DDA47063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703513" y="2892425"/>
            <a:ext cx="136525" cy="5715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6C424B2-A331-4203-9D0C-A11F64CE14A1}" type="datetime'''K''''''''03''''''''''''''''''''''''''''''''''''T''WS19''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3TWS19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C75638C3-95F8-2832-2AB0-62423B9B4E03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394075" y="2892425"/>
            <a:ext cx="136525" cy="6794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DF66CA0-E2B6-4CFF-90CD-45035BADF3D3}" type="datetime'''''''T''''''''''''''''''''''S02''''''TWS''''1''''''''''''08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2TWS108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34" name="Rectangle 333">
            <a:extLst>
              <a:ext uri="{FF2B5EF4-FFF2-40B4-BE49-F238E27FC236}">
                <a16:creationId xmlns:a16="http://schemas.microsoft.com/office/drawing/2014/main" id="{46C18EB9-D927-34BE-0682-4EEDFBF17BD6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4084638" y="2892425"/>
            <a:ext cx="136525" cy="5715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B7A734A-4E6C-4677-9637-61D2CD19E694}" type="datetime'''''''''''''K''''''''''''02TW''''''''''''S1''''''''''3''''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2TWS13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35" name="Rectangle 334">
            <a:extLst>
              <a:ext uri="{FF2B5EF4-FFF2-40B4-BE49-F238E27FC236}">
                <a16:creationId xmlns:a16="http://schemas.microsoft.com/office/drawing/2014/main" id="{9C815915-814A-C008-C769-500263A1D32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4775200" y="2892425"/>
            <a:ext cx="136525" cy="6223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54B659A-D5A9-4160-948E-A70C6E333E27}" type="datetime'''''''''T''''''S''''''0''2''T''W''''''''''S''''9''1''''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2TWS91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36" name="Rectangle 335">
            <a:extLst>
              <a:ext uri="{FF2B5EF4-FFF2-40B4-BE49-F238E27FC236}">
                <a16:creationId xmlns:a16="http://schemas.microsoft.com/office/drawing/2014/main" id="{D6C5C9E5-46F3-30EE-0D40-AE9A1634A296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5464175" y="2892425"/>
            <a:ext cx="136525" cy="5715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7D96F9C-0C20-487B-B9E8-2A76FFD702A1}" type="datetime'K''03''''''''''TW''''''''''S''''2''''''''4''''''''''''''''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3TWS24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38" name="Rectangle 337">
            <a:extLst>
              <a:ext uri="{FF2B5EF4-FFF2-40B4-BE49-F238E27FC236}">
                <a16:creationId xmlns:a16="http://schemas.microsoft.com/office/drawing/2014/main" id="{7677C757-899C-FDE9-B889-C9DCBD44B321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6154738" y="2892425"/>
            <a:ext cx="136525" cy="6223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37D3D6F-3427-46E3-90E3-0170C9524157}" type="datetime'''T''''''''S''''02T''''''''''W''''''''S''9''''''7''''''''''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2TWS97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39" name="Rectangle 338">
            <a:extLst>
              <a:ext uri="{FF2B5EF4-FFF2-40B4-BE49-F238E27FC236}">
                <a16:creationId xmlns:a16="http://schemas.microsoft.com/office/drawing/2014/main" id="{AEE7F6D1-F441-6C5F-0DC0-3DBBC6259377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6845300" y="2892425"/>
            <a:ext cx="136525" cy="6223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C3E6753-38FF-4CF3-A338-E59C638B1E0C}" type="datetime'''''''T''S''0''''''3''T''''W''S''''''7''''''''''''''4''''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3TWS74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40" name="Rectangle 339">
            <a:extLst>
              <a:ext uri="{FF2B5EF4-FFF2-40B4-BE49-F238E27FC236}">
                <a16:creationId xmlns:a16="http://schemas.microsoft.com/office/drawing/2014/main" id="{83FC96B6-A9BF-4231-C3C1-03C13C3B099C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7535863" y="2892425"/>
            <a:ext cx="136525" cy="5524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83C6597-ECEA-4103-B44B-8B18DEFA4E7D}" type="datetime'T''''''''''''08N''''H''''''T''''5''''''''9''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08NHT59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41" name="Rectangle 340">
            <a:extLst>
              <a:ext uri="{FF2B5EF4-FFF2-40B4-BE49-F238E27FC236}">
                <a16:creationId xmlns:a16="http://schemas.microsoft.com/office/drawing/2014/main" id="{CC9E2FCC-C153-A8DD-C6D5-53809C470C6E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8224838" y="2892425"/>
            <a:ext cx="136525" cy="5715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088114C-DBE5-46A4-94ED-8020F4D1BB9D}" type="datetime'''K''''''03''''TW''''''S''''''''''''''''1''''''0''''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3TWS10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848597F6-9D30-AFBC-B721-70D63217BD90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915400" y="2892425"/>
            <a:ext cx="136525" cy="6794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2A00075-8ED3-4A7B-B18D-3D899280ABCE}" type="datetime'''''''TS''02''T''WS''''''1''1''''''''''''''2''''''''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2TWS112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322AFE1C-CE9C-8799-36F5-6FDCFFDC58AB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9605963" y="2892425"/>
            <a:ext cx="136525" cy="6794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27A5BD7-7F8E-488B-86B3-9CA4A3A70D2A}" type="datetime'T''''''''''S''0''''2''''''T''''''''''W''S1''''0''''''4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2TWS104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44" name="Rectangle 343">
            <a:extLst>
              <a:ext uri="{FF2B5EF4-FFF2-40B4-BE49-F238E27FC236}">
                <a16:creationId xmlns:a16="http://schemas.microsoft.com/office/drawing/2014/main" id="{E3BE68D2-D3EF-8E5D-347B-D416D925190D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0296525" y="2892425"/>
            <a:ext cx="136525" cy="5715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DDA199A-75B4-4EF8-89AD-879175E61E19}" type="datetime'''''''K''0''3''T''''''W''S''''''''2''2''''''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3TWS22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45" name="Rectangle 344">
            <a:extLst>
              <a:ext uri="{FF2B5EF4-FFF2-40B4-BE49-F238E27FC236}">
                <a16:creationId xmlns:a16="http://schemas.microsoft.com/office/drawing/2014/main" id="{3D8A63B7-91D3-9A31-627D-4DA530BAE604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0985500" y="2892425"/>
            <a:ext cx="136525" cy="6794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20202E3-F968-4D6D-A523-D04AE77A80B4}" type="datetime'''''''''TS''02T''''WS1''''''1''''''''''''''''''6''''''''''''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2TWS116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46" name="Rectangle 345">
            <a:extLst>
              <a:ext uri="{FF2B5EF4-FFF2-40B4-BE49-F238E27FC236}">
                <a16:creationId xmlns:a16="http://schemas.microsoft.com/office/drawing/2014/main" id="{0A3BF11E-FE87-7D71-9EB1-D30DDDAAA06A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1676063" y="2892425"/>
            <a:ext cx="136525" cy="6223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DC20382-1ADA-4AEC-9718-CCBE7B464C7F}" type="datetime'''''''T''S''''0''''3''T''''''''''W''''S6''''''''''5''''''''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3TWS65</a:t>
            </a:fld>
            <a:endParaRPr lang="en-IN" sz="900" b="1">
              <a:solidFill>
                <a:schemeClr val="tx1"/>
              </a:solidFill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A84E4042-309A-5F9E-6EE4-C9A5770CE4E6}"/>
              </a:ext>
            </a:extLst>
          </p:cNvPr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059684652"/>
              </p:ext>
            </p:extLst>
          </p:nvPr>
        </p:nvGraphicFramePr>
        <p:xfrm>
          <a:off x="90488" y="3457575"/>
          <a:ext cx="11736387" cy="238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8"/>
          </a:graphicData>
        </a:graphic>
      </p:graphicFrame>
      <p:sp>
        <p:nvSpPr>
          <p:cNvPr id="106" name="Rectangle 105">
            <a:extLst>
              <a:ext uri="{FF2B5EF4-FFF2-40B4-BE49-F238E27FC236}">
                <a16:creationId xmlns:a16="http://schemas.microsoft.com/office/drawing/2014/main" id="{2AB33A40-86E2-2241-1011-88A1B1981B77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633413" y="5676899"/>
            <a:ext cx="136525" cy="6794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6226482-DC04-49CB-92AA-72E222578A92}" type="datetime'''T''S''''''0''''2''''T''''''''''''''''W''S''12''''0''''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2TWS120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7DCFF9E2-2D12-5699-831C-F10FBB09D756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323975" y="5676899"/>
            <a:ext cx="136525" cy="6223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5D3B66E-9A6A-4B6B-A8A4-F6047A299EBC}" type="datetime'''''T''S''03''''''''''T''''''''W''''''''''''''''S''6''''5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3TWS65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5933A6E0-57E2-8AC3-7753-1106E1C106AA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2014538" y="5676899"/>
            <a:ext cx="136525" cy="5524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E6FA2F3-55DA-46F7-A1CE-D2A55EF03E5B}" type="datetime'''''''''T0''''''''1N''''''H''''''''''''''''''T3''1''''''''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01NHT31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F32F8EDE-E4C8-C7C4-B5A3-1F97EA49E763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2703513" y="5676900"/>
            <a:ext cx="136525" cy="5715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A9B8D1B-1217-4F51-ADDF-A1E2B4806CFD}" type="datetime'K''''''0''''''''3''''T''W''''''''''''S''''''''''''''''''19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3TWS19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6EF988B0-8BD9-BC52-C3BE-242D3C9AA9B4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3394075" y="5676899"/>
            <a:ext cx="136525" cy="6794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7A146D3-D90A-4D9D-A197-44AA1CFF6F7C}" type="datetime'''''''''''''''T''''''''''''''''S02''''T''W''''S1''''0''''''8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2TWS108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2D212399-FE24-6E96-EE6C-1E900EAB1EF9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4084638" y="5676900"/>
            <a:ext cx="136525" cy="5715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BEAD0C6-1BBD-4528-AEA0-D467200908DF}" type="datetime'''''''''''K''''0''2T''WS''''''13''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2TWS13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FEBF7C5C-062B-53EE-386D-A4D42224B20F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4775200" y="5676899"/>
            <a:ext cx="136525" cy="6223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D3397BC-7973-4F11-A60F-58795A61B55F}" type="datetime'T''''S''''''''''''''0''2''T''''''WS''''''''9''''''''''1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2TWS91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E36958A5-821B-F040-B667-F8CD56587ED2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5464175" y="5676900"/>
            <a:ext cx="136525" cy="5715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8C57B6A-21F2-4D0C-9BF2-6810784914F7}" type="datetime'''''K03T''''''''''W''''''''S2''''''''''''''''''''4''''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3TWS24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C98C0458-CC26-047C-3212-A3F519C3C7AC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6154738" y="5676899"/>
            <a:ext cx="136525" cy="6223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27A375C-4BBB-4360-A8AF-970CCFE863FB}" type="datetime'TS''0''2T''''W''''''''''''''S''''''97''''''''''''''''''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2TWS97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3EF6AFBF-130A-B08A-C09E-F9349B517B61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6845300" y="5676899"/>
            <a:ext cx="136525" cy="6223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BB2E3F2-BA1E-4879-BF05-E44BB8981668}" type="datetime'''T''''''''S03''''''''''''''T''''''''W''''S74''''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3TWS74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28A7EEEB-219B-404C-13B2-009F6947A5D6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7535863" y="5676899"/>
            <a:ext cx="136525" cy="5524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9AAA43C-6489-4747-A61A-7A5203BF8A4C}" type="datetime'T''''''''''0''''8''''N''H''''''''''''''T''59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08NHT59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F41AD9F2-B8FF-078D-99D2-3FC55B3D6E9B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8224838" y="5676900"/>
            <a:ext cx="136525" cy="5715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1956F5F-D2FC-47EE-A6AA-26EB8CBEACCE}" type="datetime'''K''''''''0''''3''''T''''''WS''''''''''''1''''''''''''0''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3TWS10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612B2462-01A3-AE5B-F3A1-1F7E39728285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8915400" y="5676899"/>
            <a:ext cx="136525" cy="6794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F136B7A-57A5-451D-A78C-450CD46929BF}" type="datetime'''''T''''S''02''T''''''''W''''''S1''''''''1''''''2''''''''''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2TWS112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CB144303-E8B2-6222-960A-1B754164A5FC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9605963" y="5676899"/>
            <a:ext cx="136525" cy="6794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C7F362D-B684-448B-B8E4-D953084D5A17}" type="datetime'''''''''''T''S''''''''''0''2TW''S''''''1''''''''0''''4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2TWS104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B83F8E66-F0EE-42D0-A195-6EDBCF06B410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10296525" y="5676900"/>
            <a:ext cx="136525" cy="5715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0EAEA63-9482-40E8-9DDC-1CFABCBECECE}" type="datetime'''''''''K''''03TWS''''''2''''''''2''''''''''''''''''''''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3TWS22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BFDBF665-E4BE-8A25-07C7-473DEA283DE5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10985500" y="5676899"/>
            <a:ext cx="136525" cy="6794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6C39DBF-9CF8-4D8D-BFF1-A4EEE89BCB1A}" type="datetime'''''TS''''0''''''''2''T''W''''S1''''''''''''''''''1''''6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2TWS116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B7D184F2-AE44-E362-E14B-2D5471365A29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11676063" y="5676899"/>
            <a:ext cx="136525" cy="6223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41F7E97-47B7-476B-AF8B-993209AF5BC7}" type="datetime'T''S''''''''''''0''''''''3''TW''''''''S''''''6''''5'''''''''">
              <a:rPr lang="en-IN" altLang="en-US" sz="900" b="1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3TWS65</a:t>
            </a:fld>
            <a:endParaRPr lang="en-IN" sz="900" b="1">
              <a:solidFill>
                <a:schemeClr val="tx1"/>
              </a:solidFill>
            </a:endParaRPr>
          </a:p>
        </p:txBody>
      </p: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F69F3361-C001-6FEE-68BB-AC7BCD9C356C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>
            <a:off x="8310563" y="2735263"/>
            <a:ext cx="141288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DC6DBBE5-FCBC-484F-93DF-34C7AAB9F9D0}"/>
              </a:ext>
            </a:extLst>
          </p:cNvPr>
          <p:cNvCxnSpPr/>
          <p:nvPr>
            <p:custDataLst>
              <p:tags r:id="rId39"/>
            </p:custDataLst>
          </p:nvPr>
        </p:nvCxnSpPr>
        <p:spPr bwMode="gray">
          <a:xfrm>
            <a:off x="9086850" y="2735263"/>
            <a:ext cx="141288" cy="0"/>
          </a:xfrm>
          <a:prstGeom prst="line">
            <a:avLst/>
          </a:prstGeom>
          <a:ln w="19050" cap="rnd" cmpd="sng" algn="ctr">
            <a:solidFill>
              <a:srgbClr val="D6D7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E0D272F1-4158-4B7D-13E6-CA1684339A67}"/>
              </a:ext>
            </a:extLst>
          </p:cNvPr>
          <p:cNvCxnSpPr/>
          <p:nvPr>
            <p:custDataLst>
              <p:tags r:id="rId40"/>
            </p:custDataLst>
          </p:nvPr>
        </p:nvCxnSpPr>
        <p:spPr bwMode="gray">
          <a:xfrm>
            <a:off x="10128250" y="2735263"/>
            <a:ext cx="141288" cy="0"/>
          </a:xfrm>
          <a:prstGeom prst="line">
            <a:avLst/>
          </a:prstGeom>
          <a:ln w="19050" cap="rnd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F1FB04C9-5B18-BEFB-4F39-054857DC7669}"/>
              </a:ext>
            </a:extLst>
          </p:cNvPr>
          <p:cNvCxnSpPr/>
          <p:nvPr>
            <p:custDataLst>
              <p:tags r:id="rId41"/>
            </p:custDataLst>
          </p:nvPr>
        </p:nvCxnSpPr>
        <p:spPr bwMode="gray">
          <a:xfrm>
            <a:off x="11142663" y="2735263"/>
            <a:ext cx="141288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8" name="Rectangle 97">
            <a:extLst>
              <a:ext uri="{FF2B5EF4-FFF2-40B4-BE49-F238E27FC236}">
                <a16:creationId xmlns:a16="http://schemas.microsoft.com/office/drawing/2014/main" id="{AE773972-2EB5-0A28-E7A3-5540FC1ABC59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8512175" y="2671763"/>
            <a:ext cx="463550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B6CF27B-2FE7-48CA-9004-3ACE25B3452F}" type="datetime'''''L''P''''''''(A''D''''B'''''''''')'''''''''''''''''''''">
              <a:rPr lang="en-IN" altLang="en-US" sz="900" b="1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LP(ADB)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48" name="Rectangle 347">
            <a:extLst>
              <a:ext uri="{FF2B5EF4-FFF2-40B4-BE49-F238E27FC236}">
                <a16:creationId xmlns:a16="http://schemas.microsoft.com/office/drawing/2014/main" id="{A147D908-9836-0F0D-85D4-8C6862F99243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9288463" y="2671763"/>
            <a:ext cx="728663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26D0547-A4A4-4B9D-ABC8-00D758EF6085}" type="datetime'L''''''''P(''''''''''''A''''''''D''''B)''''+0''.5''5'">
              <a:rPr lang="en-IN" altLang="en-US" sz="900" b="1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LP(ADB)+0.55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49" name="Rectangle 348">
            <a:extLst>
              <a:ext uri="{FF2B5EF4-FFF2-40B4-BE49-F238E27FC236}">
                <a16:creationId xmlns:a16="http://schemas.microsoft.com/office/drawing/2014/main" id="{364F5A6C-1E81-9521-E58B-BDDE801D9B91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10329863" y="2671763"/>
            <a:ext cx="701675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8462109-8C4E-4985-9467-642F1E688B77}" type="datetime'''''L''P(A''''''''''D''''B)-''0''''''''''.5''''''5'''''''''">
              <a:rPr lang="en-IN" altLang="en-US" sz="900" b="1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LP(ADB)-0.55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50" name="Rectangle 349">
            <a:extLst>
              <a:ext uri="{FF2B5EF4-FFF2-40B4-BE49-F238E27FC236}">
                <a16:creationId xmlns:a16="http://schemas.microsoft.com/office/drawing/2014/main" id="{1718C9F3-76B1-A985-2CB3-1F1A97453490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11344275" y="2671763"/>
            <a:ext cx="431800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34BE67A-051E-45B2-B2B0-B23F53FF1DB8}" type="datetime'''T''''''S''J''''''''(D''B'''''''''''''''''''''''''''''')'''">
              <a:rPr lang="en-IN" altLang="en-US" sz="900" b="1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TSJ(DB)</a:t>
            </a:fld>
            <a:endParaRPr lang="en-IN" sz="900" b="1">
              <a:solidFill>
                <a:schemeClr val="tx1"/>
              </a:solidFill>
            </a:endParaRPr>
          </a:p>
        </p:txBody>
      </p: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BEDC1F8F-C778-6AA4-097C-3BD0DF569D1C}"/>
              </a:ext>
            </a:extLst>
          </p:cNvPr>
          <p:cNvCxnSpPr/>
          <p:nvPr>
            <p:custDataLst>
              <p:tags r:id="rId46"/>
            </p:custDataLst>
          </p:nvPr>
        </p:nvCxnSpPr>
        <p:spPr bwMode="gray">
          <a:xfrm>
            <a:off x="8232775" y="5519738"/>
            <a:ext cx="141288" cy="0"/>
          </a:xfrm>
          <a:prstGeom prst="line">
            <a:avLst/>
          </a:prstGeom>
          <a:ln w="19050" cap="rnd" cmpd="sng" algn="ctr">
            <a:solidFill>
              <a:srgbClr val="C30C3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61DF50E9-2AAE-C001-5C1A-26512B1E2112}"/>
              </a:ext>
            </a:extLst>
          </p:cNvPr>
          <p:cNvCxnSpPr/>
          <p:nvPr>
            <p:custDataLst>
              <p:tags r:id="rId47"/>
            </p:custDataLst>
          </p:nvPr>
        </p:nvCxnSpPr>
        <p:spPr bwMode="gray">
          <a:xfrm>
            <a:off x="8926513" y="5519738"/>
            <a:ext cx="141288" cy="0"/>
          </a:xfrm>
          <a:prstGeom prst="line">
            <a:avLst/>
          </a:prstGeom>
          <a:ln w="19050" cap="rnd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8BFDB50D-3D8F-3464-4BE6-6B2E6A56DF04}"/>
              </a:ext>
            </a:extLst>
          </p:cNvPr>
          <p:cNvCxnSpPr/>
          <p:nvPr>
            <p:custDataLst>
              <p:tags r:id="rId48"/>
            </p:custDataLst>
          </p:nvPr>
        </p:nvCxnSpPr>
        <p:spPr bwMode="gray">
          <a:xfrm>
            <a:off x="9885363" y="5519738"/>
            <a:ext cx="141288" cy="0"/>
          </a:xfrm>
          <a:prstGeom prst="line">
            <a:avLst/>
          </a:prstGeom>
          <a:ln w="19050" cap="rnd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D1A05728-64DD-D625-27DD-9E8F9C84827F}"/>
              </a:ext>
            </a:extLst>
          </p:cNvPr>
          <p:cNvCxnSpPr/>
          <p:nvPr>
            <p:custDataLst>
              <p:tags r:id="rId49"/>
            </p:custDataLst>
          </p:nvPr>
        </p:nvCxnSpPr>
        <p:spPr bwMode="gray">
          <a:xfrm>
            <a:off x="10817225" y="5519738"/>
            <a:ext cx="141288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8" name="Rectangle 127">
            <a:extLst>
              <a:ext uri="{FF2B5EF4-FFF2-40B4-BE49-F238E27FC236}">
                <a16:creationId xmlns:a16="http://schemas.microsoft.com/office/drawing/2014/main" id="{05A22683-3053-BB27-4624-9EF2FEBBCECF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8434388" y="5456238"/>
            <a:ext cx="381000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EEF63AA-D1A1-4F14-BCFD-873DAF047EB9}" type="datetime'''''''''''''''''''L''''''''P''''''(DB'''''''')'''''''''">
              <a:rPr lang="en-IN" altLang="en-US" sz="900" b="1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LP(DB)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F3277B65-A5A2-D0DA-CA92-F2CB85CC15B6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9128125" y="5456238"/>
            <a:ext cx="646113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17ADD60-E2CE-454D-A8B3-42F6496C79D8}" type="datetime'LP''''''(''D''B'''''''''')''''+0.''''''''''''55'''''''''''''''">
              <a:rPr lang="en-IN" altLang="en-US" sz="900" b="1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LP(DB)+0.55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ADE48EE3-B7F4-48D9-9C47-B5CF82F9E19E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10086975" y="5456238"/>
            <a:ext cx="619125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B95F8E1-0A09-4F70-A77C-1880C5BB5FC2}" type="datetime'''L''''P(DB'')''''''-''''''0''''''.''''''''''''5''''5'''''">
              <a:rPr lang="en-IN" altLang="en-US" sz="900" b="1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LP(DB)-0.55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BFB6FCAD-BC3E-0D8A-78A6-E6AD9068366E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11018838" y="5456238"/>
            <a:ext cx="431800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512D72B-5671-463D-9460-F0EB046220A7}" type="datetime'''T''S''J''''''''''''(D''''''''''''''B'''''')'''''''''">
              <a:rPr lang="en-IN" altLang="en-US" sz="900" b="1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TSJ(DB)</a:t>
            </a:fld>
            <a:endParaRPr lang="en-IN" sz="900" b="1">
              <a:solidFill>
                <a:schemeClr val="tx1"/>
              </a:solidFill>
            </a:endParaRPr>
          </a:p>
        </p:txBody>
      </p:sp>
      <p:graphicFrame>
        <p:nvGraphicFramePr>
          <p:cNvPr id="145" name="Table 109">
            <a:extLst>
              <a:ext uri="{FF2B5EF4-FFF2-40B4-BE49-F238E27FC236}">
                <a16:creationId xmlns:a16="http://schemas.microsoft.com/office/drawing/2014/main" id="{F83C7907-94C2-11EB-750A-F5447896D6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740482"/>
              </p:ext>
            </p:extLst>
          </p:nvPr>
        </p:nvGraphicFramePr>
        <p:xfrm>
          <a:off x="5142012" y="2570361"/>
          <a:ext cx="2525646" cy="103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7893">
                  <a:extLst>
                    <a:ext uri="{9D8B030D-6E8A-4147-A177-3AD203B41FA5}">
                      <a16:colId xmlns:a16="http://schemas.microsoft.com/office/drawing/2014/main" val="368034030"/>
                    </a:ext>
                  </a:extLst>
                </a:gridCol>
                <a:gridCol w="1013143">
                  <a:extLst>
                    <a:ext uri="{9D8B030D-6E8A-4147-A177-3AD203B41FA5}">
                      <a16:colId xmlns:a16="http://schemas.microsoft.com/office/drawing/2014/main" val="3474811329"/>
                    </a:ext>
                  </a:extLst>
                </a:gridCol>
                <a:gridCol w="594610">
                  <a:extLst>
                    <a:ext uri="{9D8B030D-6E8A-4147-A177-3AD203B41FA5}">
                      <a16:colId xmlns:a16="http://schemas.microsoft.com/office/drawing/2014/main" val="1052012097"/>
                    </a:ext>
                  </a:extLst>
                </a:gridCol>
              </a:tblGrid>
              <a:tr h="259001">
                <a:tc>
                  <a:txBody>
                    <a:bodyPr/>
                    <a:lstStyle/>
                    <a:p>
                      <a:r>
                        <a:rPr lang="en-IN" sz="1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cation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ho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h%      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5922120"/>
                  </a:ext>
                </a:extLst>
              </a:tr>
              <a:tr h="259001"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ir Dry basi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3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2379304"/>
                  </a:ext>
                </a:extLst>
              </a:tr>
              <a:tr h="259001"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599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y basi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4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1521363"/>
                  </a:ext>
                </a:extLst>
              </a:tr>
              <a:tr h="259001"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SJ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599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y basi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2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3448036"/>
                  </a:ext>
                </a:extLst>
              </a:tr>
            </a:tbl>
          </a:graphicData>
        </a:graphic>
      </p:graphicFrame>
      <p:cxnSp>
        <p:nvCxnSpPr>
          <p:cNvPr id="146" name="Straight Arrow Connector 145">
            <a:extLst>
              <a:ext uri="{FF2B5EF4-FFF2-40B4-BE49-F238E27FC236}">
                <a16:creationId xmlns:a16="http://schemas.microsoft.com/office/drawing/2014/main" id="{953B6D42-BD2A-B636-B957-10D57BAF24CC}"/>
              </a:ext>
            </a:extLst>
          </p:cNvPr>
          <p:cNvCxnSpPr/>
          <p:nvPr/>
        </p:nvCxnSpPr>
        <p:spPr>
          <a:xfrm>
            <a:off x="7535863" y="2892425"/>
            <a:ext cx="0" cy="3873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0" name="TextBox 219">
            <a:extLst>
              <a:ext uri="{FF2B5EF4-FFF2-40B4-BE49-F238E27FC236}">
                <a16:creationId xmlns:a16="http://schemas.microsoft.com/office/drawing/2014/main" id="{5F04E1C9-4631-9DF1-F5CF-BAD783F6E774}"/>
              </a:ext>
            </a:extLst>
          </p:cNvPr>
          <p:cNvSpPr txBox="1"/>
          <p:nvPr/>
        </p:nvSpPr>
        <p:spPr>
          <a:xfrm>
            <a:off x="769938" y="2413000"/>
            <a:ext cx="69138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Air Dry (ADB) at </a:t>
            </a:r>
            <a:r>
              <a:rPr lang="en-GB" b="1">
                <a:solidFill>
                  <a:srgbClr val="000000"/>
                </a:solidFill>
                <a:latin typeface="Calibri" panose="020F0502020204030204" pitchFamily="34" charset="0"/>
              </a:rPr>
              <a:t>LP</a:t>
            </a:r>
            <a:r>
              <a:rPr lang="en-GB" sz="1800" b="1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 to Dry Basis (DB) at TSJ</a:t>
            </a:r>
            <a:endParaRPr lang="en-IN"/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28827DF5-8485-29B0-E49D-6F7EA7D464B2}"/>
              </a:ext>
            </a:extLst>
          </p:cNvPr>
          <p:cNvSpPr txBox="1"/>
          <p:nvPr/>
        </p:nvSpPr>
        <p:spPr>
          <a:xfrm>
            <a:off x="769938" y="5169455"/>
            <a:ext cx="43644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Dry basis (DB) at </a:t>
            </a:r>
            <a:r>
              <a:rPr lang="en-GB" b="1">
                <a:solidFill>
                  <a:srgbClr val="000000"/>
                </a:solidFill>
                <a:latin typeface="Calibri" panose="020F0502020204030204" pitchFamily="34" charset="0"/>
              </a:rPr>
              <a:t>LP</a:t>
            </a:r>
            <a:r>
              <a:rPr lang="en-GB" sz="1800" b="1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 to Dry Basis (DB) at TSJ</a:t>
            </a:r>
            <a:endParaRPr lang="en-IN"/>
          </a:p>
        </p:txBody>
      </p:sp>
      <p:sp>
        <p:nvSpPr>
          <p:cNvPr id="378" name="Action Button: Go Home 377">
            <a:hlinkClick r:id="rId59" action="ppaction://hlinksldjump" highlightClick="1"/>
            <a:extLst>
              <a:ext uri="{FF2B5EF4-FFF2-40B4-BE49-F238E27FC236}">
                <a16:creationId xmlns:a16="http://schemas.microsoft.com/office/drawing/2014/main" id="{9BCAF968-33AB-0D0F-99EE-14792FB187AD}"/>
              </a:ext>
            </a:extLst>
          </p:cNvPr>
          <p:cNvSpPr/>
          <p:nvPr/>
        </p:nvSpPr>
        <p:spPr>
          <a:xfrm>
            <a:off x="11811000" y="203200"/>
            <a:ext cx="314960" cy="365760"/>
          </a:xfrm>
          <a:prstGeom prst="actionButtonHom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857057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07B3A3D5-1AF5-64C3-3411-164A3A53EF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9253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395" imgH="396" progId="TCLayout.ActiveDocument.1">
                  <p:embed/>
                </p:oleObj>
              </mc:Choice>
              <mc:Fallback>
                <p:oleObj name="think-cell Slide" r:id="rId51" imgW="395" imgH="396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B3A3D5-1AF5-64C3-3411-164A3A53EF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F6AD64BD-DD61-EE08-1970-EEB5A843CABF}"/>
              </a:ext>
            </a:extLst>
          </p:cNvPr>
          <p:cNvSpPr txBox="1"/>
          <p:nvPr/>
        </p:nvSpPr>
        <p:spPr>
          <a:xfrm>
            <a:off x="223520" y="198438"/>
            <a:ext cx="11582718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llinbah PCI reported ash% comparison study w.r.t reporting method </a:t>
            </a: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              March’23-April’24	</a:t>
            </a:r>
          </a:p>
        </p:txBody>
      </p:sp>
      <p:graphicFrame>
        <p:nvGraphicFramePr>
          <p:cNvPr id="411" name="Chart 410">
            <a:extLst>
              <a:ext uri="{FF2B5EF4-FFF2-40B4-BE49-F238E27FC236}">
                <a16:creationId xmlns:a16="http://schemas.microsoft.com/office/drawing/2014/main" id="{8C8C2FC8-8982-EDC5-7BAE-090287ECF75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3098270"/>
              </p:ext>
            </p:extLst>
          </p:nvPr>
        </p:nvGraphicFramePr>
        <p:xfrm>
          <a:off x="90488" y="669925"/>
          <a:ext cx="11798300" cy="2597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sp useBgFill="1">
        <p:nvSpPr>
          <p:cNvPr id="410" name="Rectangle 409">
            <a:extLst>
              <a:ext uri="{FF2B5EF4-FFF2-40B4-BE49-F238E27FC236}">
                <a16:creationId xmlns:a16="http://schemas.microsoft.com/office/drawing/2014/main" id="{E8F4A83B-528A-7D71-26BC-5314BED58EB7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8701088" y="2008188"/>
            <a:ext cx="450850" cy="192088"/>
          </a:xfrm>
          <a:prstGeom prst="rect">
            <a:avLst/>
          </a:pr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14BD4FE-A1FD-4635-845A-0E90EAF13D76}" type="datetime'1''''0''.''''''''''''''''''''1''''''''''''''0'''''''''''">
              <a:rPr lang="en-IN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.10</a:t>
            </a:fld>
            <a:endParaRPr lang="en-IN" sz="1400">
              <a:solidFill>
                <a:schemeClr val="tx1"/>
              </a:solidFill>
            </a:endParaRPr>
          </a:p>
        </p:txBody>
      </p:sp>
      <p:graphicFrame>
        <p:nvGraphicFramePr>
          <p:cNvPr id="444" name="Chart 443">
            <a:extLst>
              <a:ext uri="{FF2B5EF4-FFF2-40B4-BE49-F238E27FC236}">
                <a16:creationId xmlns:a16="http://schemas.microsoft.com/office/drawing/2014/main" id="{4314CD02-9C4D-100A-1E09-B2A01A0EDF0F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60748912"/>
              </p:ext>
            </p:extLst>
          </p:nvPr>
        </p:nvGraphicFramePr>
        <p:xfrm>
          <a:off x="90488" y="3076575"/>
          <a:ext cx="11736387" cy="2565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293" name="Rectangle 292">
            <a:extLst>
              <a:ext uri="{FF2B5EF4-FFF2-40B4-BE49-F238E27FC236}">
                <a16:creationId xmlns:a16="http://schemas.microsoft.com/office/drawing/2014/main" id="{AE9B5483-CF2E-30B9-C0B0-3EB19BAF759C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633414" y="5473700"/>
            <a:ext cx="136525" cy="6413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469E0E8-7EB0-414B-AD62-DD48BDE709FC}" type="datetime'''''''''TS''''''''11''T''''SL''''''''''''J''''0''''''''''6''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11TSLJ06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294" name="Rectangle 293">
            <a:extLst>
              <a:ext uri="{FF2B5EF4-FFF2-40B4-BE49-F238E27FC236}">
                <a16:creationId xmlns:a16="http://schemas.microsoft.com/office/drawing/2014/main" id="{FE3088AE-7DA4-FC36-BE50-7237D7165825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42989" y="5473700"/>
            <a:ext cx="136525" cy="6413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B1B8C4A-90EE-43F3-A599-2681196DB831}" type="datetime'TS''0''''3T''''''''''''''''''S''''''''''LJ''''''1''''''''6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3TSLJ16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295" name="Rectangle 294">
            <a:extLst>
              <a:ext uri="{FF2B5EF4-FFF2-40B4-BE49-F238E27FC236}">
                <a16:creationId xmlns:a16="http://schemas.microsoft.com/office/drawing/2014/main" id="{63672E0F-8062-52FF-773B-3C3313040EFC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450976" y="5473700"/>
            <a:ext cx="136525" cy="6477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5E2C250-9106-4AB8-94B9-EBDD43131A76}" type="datetime'K12''T''''S''''L''''J''''1''''''''''''''''3''9''''''''''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12TSLJ139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296" name="Rectangle 295">
            <a:extLst>
              <a:ext uri="{FF2B5EF4-FFF2-40B4-BE49-F238E27FC236}">
                <a16:creationId xmlns:a16="http://schemas.microsoft.com/office/drawing/2014/main" id="{637CB3EE-2489-E70F-A548-507C4987A247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860551" y="5473700"/>
            <a:ext cx="136525" cy="5905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8E85148-A49E-459E-B65F-31BB7CEF91B8}" type="datetime'K1''''1''TS''''''''''''''''''''''''''''''L''J''''''''05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11TSLJ05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297" name="Rectangle 296">
            <a:extLst>
              <a:ext uri="{FF2B5EF4-FFF2-40B4-BE49-F238E27FC236}">
                <a16:creationId xmlns:a16="http://schemas.microsoft.com/office/drawing/2014/main" id="{135BF458-18DE-A342-852F-F7D5063A47B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270126" y="5473700"/>
            <a:ext cx="136525" cy="6477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467050B-091E-4AF2-8D8B-0552F3B3278E}" type="datetime'''''K''''0''''''''''''1''TSL''''''J1''''''''''''2''''''''''2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1TSLJ122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298" name="Rectangle 297">
            <a:extLst>
              <a:ext uri="{FF2B5EF4-FFF2-40B4-BE49-F238E27FC236}">
                <a16:creationId xmlns:a16="http://schemas.microsoft.com/office/drawing/2014/main" id="{95E54430-C17E-2AF4-60C9-5D59B7444B3B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2678114" y="5473700"/>
            <a:ext cx="136525" cy="6413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71EBBB8-0327-4A48-B464-FEEC9B878515}" type="datetime'''T''''S''''''''0''5''''''''T''S''''L''J''12''''''''''''''''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5TSLJ12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299" name="Rectangle 298">
            <a:extLst>
              <a:ext uri="{FF2B5EF4-FFF2-40B4-BE49-F238E27FC236}">
                <a16:creationId xmlns:a16="http://schemas.microsoft.com/office/drawing/2014/main" id="{C4874531-F6A9-8900-C9DC-AD7AB3C55F13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087689" y="5473700"/>
            <a:ext cx="136525" cy="6413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818BE38-9E52-4565-AF83-12BEF6013776}" type="datetime'TS0''''5''''''''''''''''T''S''L''''J''''''1''''7''''''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5TSLJ17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00" name="Rectangle 299">
            <a:extLst>
              <a:ext uri="{FF2B5EF4-FFF2-40B4-BE49-F238E27FC236}">
                <a16:creationId xmlns:a16="http://schemas.microsoft.com/office/drawing/2014/main" id="{B2BF550E-7916-68C9-D6EA-C29C5777B0C1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3495676" y="5473700"/>
            <a:ext cx="136525" cy="6413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6BEE8D4-DC2F-49F5-9193-1F561E7F67D5}" type="datetime'''''''''T''S''05T''''''''S''''''LJ''1''''8''''''''''''''''''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5TSLJ18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01" name="Rectangle 300">
            <a:extLst>
              <a:ext uri="{FF2B5EF4-FFF2-40B4-BE49-F238E27FC236}">
                <a16:creationId xmlns:a16="http://schemas.microsoft.com/office/drawing/2014/main" id="{31A37797-D153-1A60-DF76-FE71E67398CD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3905251" y="5473700"/>
            <a:ext cx="136525" cy="6413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49DE936-7CFB-4757-9EA9-077D1BD97CD3}" type="datetime'''''''''TS1''''''2''''''T''''S''L''''''''''''J''''''''01''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12TSLJ01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02" name="Rectangle 301">
            <a:extLst>
              <a:ext uri="{FF2B5EF4-FFF2-40B4-BE49-F238E27FC236}">
                <a16:creationId xmlns:a16="http://schemas.microsoft.com/office/drawing/2014/main" id="{E8DA490A-0947-9754-9036-C2CA3BAB5697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4314826" y="5473700"/>
            <a:ext cx="136525" cy="6413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30B1EA5-8398-43D4-B197-C6F0E9D79B69}" type="datetime'''''''T''S''''''05''''T''''SL''J''''0''6''''''''''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5TSLJ06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03" name="Rectangle 302">
            <a:extLst>
              <a:ext uri="{FF2B5EF4-FFF2-40B4-BE49-F238E27FC236}">
                <a16:creationId xmlns:a16="http://schemas.microsoft.com/office/drawing/2014/main" id="{6E24FC43-1D4F-33BF-D6A3-0F70C437F868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4722814" y="5473700"/>
            <a:ext cx="136525" cy="6413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17ABC03-B68D-4090-AC04-7F84B53F245F}" type="datetime'T''''S''''1''''1T''''''''''''''S''''''L''''''''''J''2''''9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11TSLJ29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04" name="Rectangle 303">
            <a:extLst>
              <a:ext uri="{FF2B5EF4-FFF2-40B4-BE49-F238E27FC236}">
                <a16:creationId xmlns:a16="http://schemas.microsoft.com/office/drawing/2014/main" id="{11A20C0F-EE79-DA00-734F-C17D72215986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5132389" y="5473700"/>
            <a:ext cx="136525" cy="6413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BAD2ECF-6359-48BD-B7D5-98F2E0094C63}" type="datetime'T''''''''''''''''S''0''3''T''''''''S''''''''''LJ''''2''5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3TSLJ25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05" name="Rectangle 304">
            <a:extLst>
              <a:ext uri="{FF2B5EF4-FFF2-40B4-BE49-F238E27FC236}">
                <a16:creationId xmlns:a16="http://schemas.microsoft.com/office/drawing/2014/main" id="{84481314-6696-C17F-C872-ECAFCF1D3E40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5541964" y="5473700"/>
            <a:ext cx="136525" cy="5905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72D2200-C5EE-43E0-A269-52D873F70592}" type="datetime'''''''''''''''K0''''''''''''3''''''''''''''TS''''LJ1''3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3TSLJ13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06" name="Rectangle 305">
            <a:extLst>
              <a:ext uri="{FF2B5EF4-FFF2-40B4-BE49-F238E27FC236}">
                <a16:creationId xmlns:a16="http://schemas.microsoft.com/office/drawing/2014/main" id="{D72AF964-269E-61E4-CC14-6FC54E2A2EFA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5949951" y="5473700"/>
            <a:ext cx="136525" cy="5905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B6DDF0E-307D-49EF-8CBE-9A944F542DC0}" type="datetime'''''''''''''''''''K''''''''0''3TSL''''''''''''''''''''J2''3''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3TSLJ23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07" name="Rectangle 306">
            <a:extLst>
              <a:ext uri="{FF2B5EF4-FFF2-40B4-BE49-F238E27FC236}">
                <a16:creationId xmlns:a16="http://schemas.microsoft.com/office/drawing/2014/main" id="{12F685FA-8157-5156-C46B-CD0FCCF2A98E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6359526" y="5473700"/>
            <a:ext cx="136525" cy="6477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907C39C-E56A-43E5-B5F6-FB02A62A9346}" type="datetime'''K''''''''''''0''1T''S''L''''''J1''''''''''''1''''''''''2''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1TSLJ112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ED3F58DB-FEE8-0E15-4E89-87AB00B64C17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6767514" y="5473700"/>
            <a:ext cx="136525" cy="6413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4B2F2FD-BE54-4E4C-85B4-9DADBC9E978F}" type="datetime'T''''''S0''''3T''''''''''S''''''L''''''J1''''''''''''5''''''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3TSLJ15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09" name="Rectangle 308">
            <a:extLst>
              <a:ext uri="{FF2B5EF4-FFF2-40B4-BE49-F238E27FC236}">
                <a16:creationId xmlns:a16="http://schemas.microsoft.com/office/drawing/2014/main" id="{30D9A70C-8FDA-A53C-AD28-C0C96ADC313B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7177089" y="5473700"/>
            <a:ext cx="136525" cy="6413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64B48C6-ACCD-44D2-B957-0FD3E67DBE71}" type="datetime'''''''''''T''S''0''''4''''''''''''T''S''LJ''0''''''''''''7''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4TSLJ07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10" name="Rectangle 309">
            <a:extLst>
              <a:ext uri="{FF2B5EF4-FFF2-40B4-BE49-F238E27FC236}">
                <a16:creationId xmlns:a16="http://schemas.microsoft.com/office/drawing/2014/main" id="{B15BC3FC-4242-29A1-31BD-06F4A0ECAF3C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7586664" y="5473700"/>
            <a:ext cx="136525" cy="6477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EF11378-D79D-4F8F-A139-874629522289}" type="datetime'''''''''''''''''K''''''03T''S''''L''''J''''''135''''''''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3TSLJ135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11" name="Rectangle 310">
            <a:extLst>
              <a:ext uri="{FF2B5EF4-FFF2-40B4-BE49-F238E27FC236}">
                <a16:creationId xmlns:a16="http://schemas.microsoft.com/office/drawing/2014/main" id="{782F3DCA-4DEC-CC01-F988-A2FB95F7D23D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7994651" y="5473700"/>
            <a:ext cx="136525" cy="5905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666AD18-EE7B-48F8-9E7A-C73A2E0B7C42}" type="datetime'K03''''''''''''T''''S''L''''J''''''''''2''''''''3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3TSLJ23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4B6FF1B9-3398-B18F-821A-D6A42E145F57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8404226" y="5473700"/>
            <a:ext cx="136525" cy="6413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BD50AE0-89E4-40D7-8272-6E6B21BBA314}" type="datetime'''''''T''''''''''''S''''''''''''04''TS''''LJ1''''''''9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4TSLJ19</a:t>
            </a:fld>
            <a:endParaRPr lang="en-IN" sz="900" b="1">
              <a:solidFill>
                <a:schemeClr val="tx1"/>
              </a:solidFill>
            </a:endParaRPr>
          </a:p>
        </p:txBody>
      </p:sp>
      <p:sp useBgFill="1">
        <p:nvSpPr>
          <p:cNvPr id="413" name="Rectangle 412">
            <a:extLst>
              <a:ext uri="{FF2B5EF4-FFF2-40B4-BE49-F238E27FC236}">
                <a16:creationId xmlns:a16="http://schemas.microsoft.com/office/drawing/2014/main" id="{0101B08E-185C-9756-2096-F279E7FA72ED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8656638" y="4322763"/>
            <a:ext cx="450850" cy="192088"/>
          </a:xfrm>
          <a:prstGeom prst="rect">
            <a:avLst/>
          </a:pr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889B918-DA09-497E-8560-25BFDDDD0819}" type="datetime'''''''1''''''''''''''''''''''''''''''0''.''''''2''''''''''0'''">
              <a:rPr lang="en-IN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.20</a:t>
            </a:fld>
            <a:endParaRPr lang="en-IN" sz="1400">
              <a:solidFill>
                <a:schemeClr val="tx1"/>
              </a:solidFill>
            </a:endParaRPr>
          </a:p>
        </p:txBody>
      </p:sp>
      <p:sp>
        <p:nvSpPr>
          <p:cNvPr id="330" name="Rectangle 329">
            <a:extLst>
              <a:ext uri="{FF2B5EF4-FFF2-40B4-BE49-F238E27FC236}">
                <a16:creationId xmlns:a16="http://schemas.microsoft.com/office/drawing/2014/main" id="{84D7A3B3-D6AF-2824-53AF-A7D4E149BE99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8813801" y="5473700"/>
            <a:ext cx="136525" cy="6477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CDEAC28-EE11-48F2-AFC8-B047A6CBDE3A}" type="datetime'''''''''K''''1''''''''''2''T''''SL''J''''''1''''4''''''''0''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12TSLJ140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31" name="Rectangle 330">
            <a:extLst>
              <a:ext uri="{FF2B5EF4-FFF2-40B4-BE49-F238E27FC236}">
                <a16:creationId xmlns:a16="http://schemas.microsoft.com/office/drawing/2014/main" id="{7297DD0A-FDF0-5242-1630-BFD0A8C54C63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9221789" y="5473700"/>
            <a:ext cx="136525" cy="6413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2747BDD-BE9E-4D09-B6FB-068AE9131839}" type="datetime'''''''''''T''S''''''03''T''''''''''SL''''J2''6''''''''''''''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3TSLJ26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13F4F977-C73F-7D2E-6A1B-73C50A8D81E5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9631364" y="5473700"/>
            <a:ext cx="136525" cy="6413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0094CAA-DBB6-4374-B1A5-FC2B0BC1D003}" type="datetime'''''''''T''S0''''''3''''''''''T''''''''''''''S''LJ11''''''''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3TSLJ11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34" name="Rectangle 333">
            <a:extLst>
              <a:ext uri="{FF2B5EF4-FFF2-40B4-BE49-F238E27FC236}">
                <a16:creationId xmlns:a16="http://schemas.microsoft.com/office/drawing/2014/main" id="{3F05BAFA-BB27-895F-4A31-484C4D8B6840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10039351" y="5473700"/>
            <a:ext cx="136525" cy="6413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2912C8F-2B93-4207-AAA3-5F636BA43CB4}" type="datetime'''''''''TS''03''''''''''''''''''''TS''''''''''L''J1''9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3TSLJ19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35" name="Rectangle 334">
            <a:extLst>
              <a:ext uri="{FF2B5EF4-FFF2-40B4-BE49-F238E27FC236}">
                <a16:creationId xmlns:a16="http://schemas.microsoft.com/office/drawing/2014/main" id="{777A71D5-12B3-5689-0B67-BE1C0FD06126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10448926" y="5473700"/>
            <a:ext cx="136525" cy="6413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FE0995D-1803-4AD2-9F27-8C3199508F67}" type="datetime'''''''''''TS''''''''''''''''1''2''''''''T''S''LJ0''''''''5''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12TSLJ05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36" name="Rectangle 335">
            <a:extLst>
              <a:ext uri="{FF2B5EF4-FFF2-40B4-BE49-F238E27FC236}">
                <a16:creationId xmlns:a16="http://schemas.microsoft.com/office/drawing/2014/main" id="{F8D98BBA-D7E2-7B8D-16EB-BD75941037C9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10858501" y="5473700"/>
            <a:ext cx="136525" cy="6413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001C2A3-1016-4CA2-9F7E-92C9D3421A02}" type="datetime'TS''''''''''''11T''''''''''''''''SL''''''J''''''''''2''''7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11TSLJ27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38" name="Rectangle 337">
            <a:extLst>
              <a:ext uri="{FF2B5EF4-FFF2-40B4-BE49-F238E27FC236}">
                <a16:creationId xmlns:a16="http://schemas.microsoft.com/office/drawing/2014/main" id="{C65748C0-BF36-44C7-AD34-576910817BDF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11266489" y="5473700"/>
            <a:ext cx="136525" cy="4445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C637F90-3D73-4CF1-A101-C76DAD5D2136}" type="datetime'''''''T''''''S''''''''''''LJ''1''''0''''''5''''''''''''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LJ105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39" name="Rectangle 338">
            <a:extLst>
              <a:ext uri="{FF2B5EF4-FFF2-40B4-BE49-F238E27FC236}">
                <a16:creationId xmlns:a16="http://schemas.microsoft.com/office/drawing/2014/main" id="{8A83C783-74A9-DD68-B232-996E11170B47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11676064" y="5473700"/>
            <a:ext cx="136525" cy="6413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38AB98B-3573-4B5F-B066-A99D1BEB0FF8}" type="datetime'T''''''''''S04''''''''''''''''''''''''''T''S''''''''''LJ0''2'">
              <a:rPr lang="en-IN" altLang="en-US" sz="9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4TSLJ02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19" name="Oval 318">
            <a:hlinkClick r:id="rId55" action="ppaction://hlinksldjump"/>
            <a:extLst>
              <a:ext uri="{FF2B5EF4-FFF2-40B4-BE49-F238E27FC236}">
                <a16:creationId xmlns:a16="http://schemas.microsoft.com/office/drawing/2014/main" id="{25AE6E26-A01D-C7C6-46DA-8C2C6E6D7576}"/>
              </a:ext>
            </a:extLst>
          </p:cNvPr>
          <p:cNvSpPr/>
          <p:nvPr/>
        </p:nvSpPr>
        <p:spPr>
          <a:xfrm>
            <a:off x="6488298" y="6681537"/>
            <a:ext cx="132162" cy="10984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254" name="Straight Connector 253">
            <a:extLst>
              <a:ext uri="{FF2B5EF4-FFF2-40B4-BE49-F238E27FC236}">
                <a16:creationId xmlns:a16="http://schemas.microsoft.com/office/drawing/2014/main" id="{58DB2366-7DC0-F232-CE92-FD9DFFA3A03F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>
            <a:off x="8386763" y="2941638"/>
            <a:ext cx="141288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5" name="Straight Connector 254">
            <a:extLst>
              <a:ext uri="{FF2B5EF4-FFF2-40B4-BE49-F238E27FC236}">
                <a16:creationId xmlns:a16="http://schemas.microsoft.com/office/drawing/2014/main" id="{2092959E-60F5-4C6E-D5D7-F886281BF83C}"/>
              </a:ext>
            </a:extLst>
          </p:cNvPr>
          <p:cNvCxnSpPr/>
          <p:nvPr>
            <p:custDataLst>
              <p:tags r:id="rId35"/>
            </p:custDataLst>
          </p:nvPr>
        </p:nvCxnSpPr>
        <p:spPr bwMode="gray">
          <a:xfrm>
            <a:off x="9163050" y="2941638"/>
            <a:ext cx="141288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8AFF5522-F3CA-7C31-2067-913AA260B264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">
          <a:xfrm>
            <a:off x="9939338" y="2941638"/>
            <a:ext cx="141288" cy="0"/>
          </a:xfrm>
          <a:prstGeom prst="line">
            <a:avLst/>
          </a:prstGeom>
          <a:ln w="19050" cap="rnd" cmpd="sng" algn="ctr">
            <a:solidFill>
              <a:srgbClr val="D6D7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A9A7335B-3819-2764-11D9-82CB321D94DA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>
            <a:off x="10980738" y="2941638"/>
            <a:ext cx="141288" cy="0"/>
          </a:xfrm>
          <a:prstGeom prst="line">
            <a:avLst/>
          </a:prstGeom>
          <a:ln w="19050" cap="rnd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2" name="Rectangle 241">
            <a:extLst>
              <a:ext uri="{FF2B5EF4-FFF2-40B4-BE49-F238E27FC236}">
                <a16:creationId xmlns:a16="http://schemas.microsoft.com/office/drawing/2014/main" id="{67BD93F8-4BCF-053F-A2F8-7940DF2C209A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8588375" y="2878138"/>
            <a:ext cx="463550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789F18C-1643-4579-A82A-00179A29D7DA}" type="datetime'LP''''(''''A''''''''D''''B)'''''">
              <a:rPr lang="en-IN" altLang="en-US" sz="900" b="1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LP(ADB)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85A29B4D-7D63-1D9F-8F47-7C338A7951E0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9364663" y="2878138"/>
            <a:ext cx="463550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F432F8C-1DB9-42F3-9BFB-B2E69887525A}" type="datetime'''''T''''''''''S''''''''''''''K''''(''''''''''D''''''''''B)'">
              <a:rPr lang="en-IN" altLang="en-US" sz="900" b="1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TSK(DB)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086E364A-8C7F-3F66-CB7E-03561BA1834A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10140950" y="2878138"/>
            <a:ext cx="728663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EA3B8B2-FB90-4933-BD8D-D4BAF33924EA}" type="datetime'L''''P''''''''''(''A''''DB)''+0''''''''''.''''''''55'">
              <a:rPr lang="en-IN" altLang="en-US" sz="900" b="1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LP(ADB)+0.55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250" name="Rectangle 249">
            <a:extLst>
              <a:ext uri="{FF2B5EF4-FFF2-40B4-BE49-F238E27FC236}">
                <a16:creationId xmlns:a16="http://schemas.microsoft.com/office/drawing/2014/main" id="{B4A97192-B741-054A-00EE-0C93CDE72A7C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11182350" y="2878138"/>
            <a:ext cx="701675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DF609DD-C084-418E-8D6B-549A9BEF1209}" type="datetime'''''''LP''(A''''''''''DB'''''''')''-0''''''''''''.55'''''">
              <a:rPr lang="en-IN" altLang="en-US" sz="900" b="1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LP(ADB)-0.55</a:t>
            </a:fld>
            <a:endParaRPr lang="en-IN" sz="900" b="1">
              <a:solidFill>
                <a:schemeClr val="tx1"/>
              </a:solidFill>
            </a:endParaRPr>
          </a:p>
        </p:txBody>
      </p:sp>
      <p:graphicFrame>
        <p:nvGraphicFramePr>
          <p:cNvPr id="132" name="Table 109">
            <a:extLst>
              <a:ext uri="{FF2B5EF4-FFF2-40B4-BE49-F238E27FC236}">
                <a16:creationId xmlns:a16="http://schemas.microsoft.com/office/drawing/2014/main" id="{CB93DD48-B3C4-42E5-A7A6-F6EABA1D78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7626760"/>
              </p:ext>
            </p:extLst>
          </p:nvPr>
        </p:nvGraphicFramePr>
        <p:xfrm>
          <a:off x="5613467" y="2487137"/>
          <a:ext cx="2525646" cy="103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7893">
                  <a:extLst>
                    <a:ext uri="{9D8B030D-6E8A-4147-A177-3AD203B41FA5}">
                      <a16:colId xmlns:a16="http://schemas.microsoft.com/office/drawing/2014/main" val="368034030"/>
                    </a:ext>
                  </a:extLst>
                </a:gridCol>
                <a:gridCol w="1013143">
                  <a:extLst>
                    <a:ext uri="{9D8B030D-6E8A-4147-A177-3AD203B41FA5}">
                      <a16:colId xmlns:a16="http://schemas.microsoft.com/office/drawing/2014/main" val="3474811329"/>
                    </a:ext>
                  </a:extLst>
                </a:gridCol>
                <a:gridCol w="594610">
                  <a:extLst>
                    <a:ext uri="{9D8B030D-6E8A-4147-A177-3AD203B41FA5}">
                      <a16:colId xmlns:a16="http://schemas.microsoft.com/office/drawing/2014/main" val="1052012097"/>
                    </a:ext>
                  </a:extLst>
                </a:gridCol>
              </a:tblGrid>
              <a:tr h="259001">
                <a:tc>
                  <a:txBody>
                    <a:bodyPr/>
                    <a:lstStyle/>
                    <a:p>
                      <a:r>
                        <a:rPr lang="en-IN" sz="1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cation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ho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h%      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5922120"/>
                  </a:ext>
                </a:extLst>
              </a:tr>
              <a:tr h="259001"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ir Dry basi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4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2379304"/>
                  </a:ext>
                </a:extLst>
              </a:tr>
              <a:tr h="259001"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599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y basi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5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1521363"/>
                  </a:ext>
                </a:extLst>
              </a:tr>
              <a:tr h="259001"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SK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599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y basi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4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3448036"/>
                  </a:ext>
                </a:extLst>
              </a:tr>
            </a:tbl>
          </a:graphicData>
        </a:graphic>
      </p:graphicFrame>
      <p:sp>
        <p:nvSpPr>
          <p:cNvPr id="135" name="TextBox 134">
            <a:extLst>
              <a:ext uri="{FF2B5EF4-FFF2-40B4-BE49-F238E27FC236}">
                <a16:creationId xmlns:a16="http://schemas.microsoft.com/office/drawing/2014/main" id="{DEB866F3-0356-00CF-4ED8-C29F5CC0E989}"/>
              </a:ext>
            </a:extLst>
          </p:cNvPr>
          <p:cNvSpPr txBox="1"/>
          <p:nvPr/>
        </p:nvSpPr>
        <p:spPr>
          <a:xfrm>
            <a:off x="795179" y="634365"/>
            <a:ext cx="69138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Air Dry (ADB) at </a:t>
            </a:r>
            <a:r>
              <a:rPr lang="en-GB" b="1">
                <a:solidFill>
                  <a:srgbClr val="000000"/>
                </a:solidFill>
                <a:latin typeface="Calibri" panose="020F0502020204030204" pitchFamily="34" charset="0"/>
              </a:rPr>
              <a:t>LP</a:t>
            </a:r>
            <a:r>
              <a:rPr lang="en-GB" sz="1800" b="1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 to Dry Basis (DB) at TSK</a:t>
            </a:r>
            <a:endParaRPr lang="en-IN"/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45E11347-8913-D433-5CB2-18FA4577CFF1}"/>
              </a:ext>
            </a:extLst>
          </p:cNvPr>
          <p:cNvSpPr txBox="1"/>
          <p:nvPr/>
        </p:nvSpPr>
        <p:spPr>
          <a:xfrm>
            <a:off x="760016" y="3338791"/>
            <a:ext cx="43644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Dry basis (DB) at </a:t>
            </a:r>
            <a:r>
              <a:rPr lang="en-GB" b="1">
                <a:solidFill>
                  <a:srgbClr val="000000"/>
                </a:solidFill>
                <a:latin typeface="Calibri" panose="020F0502020204030204" pitchFamily="34" charset="0"/>
              </a:rPr>
              <a:t>LP</a:t>
            </a:r>
            <a:r>
              <a:rPr lang="en-GB" sz="1800" b="1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 to Dry Basis (DB) at TSK</a:t>
            </a:r>
            <a:endParaRPr lang="en-IN"/>
          </a:p>
        </p:txBody>
      </p:sp>
      <p:cxnSp>
        <p:nvCxnSpPr>
          <p:cNvPr id="415" name="Straight Arrow Connector 414">
            <a:extLst>
              <a:ext uri="{FF2B5EF4-FFF2-40B4-BE49-F238E27FC236}">
                <a16:creationId xmlns:a16="http://schemas.microsoft.com/office/drawing/2014/main" id="{E07BCDFC-F9F0-CC3E-F56A-6DDEAF0BEC69}"/>
              </a:ext>
            </a:extLst>
          </p:cNvPr>
          <p:cNvCxnSpPr/>
          <p:nvPr/>
        </p:nvCxnSpPr>
        <p:spPr>
          <a:xfrm>
            <a:off x="8062913" y="2794001"/>
            <a:ext cx="0" cy="3873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9" name="Straight Connector 428">
            <a:extLst>
              <a:ext uri="{FF2B5EF4-FFF2-40B4-BE49-F238E27FC236}">
                <a16:creationId xmlns:a16="http://schemas.microsoft.com/office/drawing/2014/main" id="{E2E689D9-44E5-33ED-40C7-0CA2E91B243C}"/>
              </a:ext>
            </a:extLst>
          </p:cNvPr>
          <p:cNvCxnSpPr/>
          <p:nvPr>
            <p:custDataLst>
              <p:tags r:id="rId42"/>
            </p:custDataLst>
          </p:nvPr>
        </p:nvCxnSpPr>
        <p:spPr bwMode="gray">
          <a:xfrm>
            <a:off x="8386763" y="5316538"/>
            <a:ext cx="141288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0" name="Straight Connector 429">
            <a:extLst>
              <a:ext uri="{FF2B5EF4-FFF2-40B4-BE49-F238E27FC236}">
                <a16:creationId xmlns:a16="http://schemas.microsoft.com/office/drawing/2014/main" id="{F7B292FF-4B03-BA59-3160-EF10A91AA71C}"/>
              </a:ext>
            </a:extLst>
          </p:cNvPr>
          <p:cNvCxnSpPr/>
          <p:nvPr>
            <p:custDataLst>
              <p:tags r:id="rId43"/>
            </p:custDataLst>
          </p:nvPr>
        </p:nvCxnSpPr>
        <p:spPr bwMode="gray">
          <a:xfrm>
            <a:off x="9080500" y="5316538"/>
            <a:ext cx="141288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1" name="Straight Connector 430">
            <a:extLst>
              <a:ext uri="{FF2B5EF4-FFF2-40B4-BE49-F238E27FC236}">
                <a16:creationId xmlns:a16="http://schemas.microsoft.com/office/drawing/2014/main" id="{B206B9B6-6D95-C628-94B4-1DBF7B2E6869}"/>
              </a:ext>
            </a:extLst>
          </p:cNvPr>
          <p:cNvCxnSpPr/>
          <p:nvPr>
            <p:custDataLst>
              <p:tags r:id="rId44"/>
            </p:custDataLst>
          </p:nvPr>
        </p:nvCxnSpPr>
        <p:spPr bwMode="gray">
          <a:xfrm>
            <a:off x="9856788" y="5316538"/>
            <a:ext cx="141288" cy="0"/>
          </a:xfrm>
          <a:prstGeom prst="line">
            <a:avLst/>
          </a:prstGeom>
          <a:ln w="19050" cap="rnd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2" name="Straight Connector 431">
            <a:extLst>
              <a:ext uri="{FF2B5EF4-FFF2-40B4-BE49-F238E27FC236}">
                <a16:creationId xmlns:a16="http://schemas.microsoft.com/office/drawing/2014/main" id="{1142644E-7203-2A65-FEE1-4B91B5B93E3C}"/>
              </a:ext>
            </a:extLst>
          </p:cNvPr>
          <p:cNvCxnSpPr/>
          <p:nvPr>
            <p:custDataLst>
              <p:tags r:id="rId45"/>
            </p:custDataLst>
          </p:nvPr>
        </p:nvCxnSpPr>
        <p:spPr bwMode="gray">
          <a:xfrm>
            <a:off x="10815638" y="5316538"/>
            <a:ext cx="141288" cy="0"/>
          </a:xfrm>
          <a:prstGeom prst="line">
            <a:avLst/>
          </a:prstGeom>
          <a:ln w="19050" cap="rnd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3" name="Rectangle 422">
            <a:extLst>
              <a:ext uri="{FF2B5EF4-FFF2-40B4-BE49-F238E27FC236}">
                <a16:creationId xmlns:a16="http://schemas.microsoft.com/office/drawing/2014/main" id="{A8131291-2244-3714-1621-437DFC49F738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8588375" y="5253038"/>
            <a:ext cx="381000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DCBB467-8E06-4BC1-A027-C2F3F1B9BB6B}" type="datetime'''''''L''''''''''''''P''''''(''''''''''''''''''DB'''')'''">
              <a:rPr lang="en-IN" altLang="en-US" sz="900" b="1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LP(DB)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425" name="Rectangle 424">
            <a:extLst>
              <a:ext uri="{FF2B5EF4-FFF2-40B4-BE49-F238E27FC236}">
                <a16:creationId xmlns:a16="http://schemas.microsoft.com/office/drawing/2014/main" id="{06738BA9-CA91-C990-5A09-BD32CB105295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9282113" y="5253038"/>
            <a:ext cx="463550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06FE28E-D454-4F73-BEA2-9C419E396DCF}" type="datetime'''''''T''''S''''''''''K''''''''(''''D''''''''''''''''B'''''')'">
              <a:rPr lang="en-IN" altLang="en-US" sz="900" b="1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TSK(DB)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426" name="Rectangle 425">
            <a:extLst>
              <a:ext uri="{FF2B5EF4-FFF2-40B4-BE49-F238E27FC236}">
                <a16:creationId xmlns:a16="http://schemas.microsoft.com/office/drawing/2014/main" id="{3A63F5A2-45EE-B987-C600-1956BB24863A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10058400" y="5253038"/>
            <a:ext cx="646113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6BECC3C-3EB5-4CDF-B373-256F4F59E7BC}" type="datetime'''''''LP''''''(''DB'''')''''+0''''.5''''''''''5'''''''''''''''">
              <a:rPr lang="en-IN" altLang="en-US" sz="900" b="1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LP(DB)+0.55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427" name="Rectangle 426">
            <a:extLst>
              <a:ext uri="{FF2B5EF4-FFF2-40B4-BE49-F238E27FC236}">
                <a16:creationId xmlns:a16="http://schemas.microsoft.com/office/drawing/2014/main" id="{55F906F9-CD62-88B6-0334-E7F0BC7FF548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11017250" y="5253038"/>
            <a:ext cx="619125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855427D-670F-4C60-874C-0B045A7020EF}" type="datetime'''LP''(''''''D''''''''''''B'''''''')-0''''''.''''5''5'''''''''">
              <a:rPr lang="en-IN" altLang="en-US" sz="900" b="1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LP(DB)-0.55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445" name="Action Button: Go Home 444">
            <a:hlinkClick r:id="rId56" action="ppaction://hlinksldjump" highlightClick="1"/>
            <a:extLst>
              <a:ext uri="{FF2B5EF4-FFF2-40B4-BE49-F238E27FC236}">
                <a16:creationId xmlns:a16="http://schemas.microsoft.com/office/drawing/2014/main" id="{479C1C8F-63FC-3344-6245-19946AD99116}"/>
              </a:ext>
            </a:extLst>
          </p:cNvPr>
          <p:cNvSpPr/>
          <p:nvPr/>
        </p:nvSpPr>
        <p:spPr>
          <a:xfrm>
            <a:off x="11811000" y="203200"/>
            <a:ext cx="314960" cy="365760"/>
          </a:xfrm>
          <a:prstGeom prst="actionButtonHom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715004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07B3A3D5-1AF5-64C3-3411-164A3A53EF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8995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8" imgW="395" imgH="396" progId="TCLayout.ActiveDocument.1">
                  <p:embed/>
                </p:oleObj>
              </mc:Choice>
              <mc:Fallback>
                <p:oleObj name="think-cell Slide" r:id="rId78" imgW="395" imgH="396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B3A3D5-1AF5-64C3-3411-164A3A53EF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F6AD64BD-DD61-EE08-1970-EEB5A843CABF}"/>
              </a:ext>
            </a:extLst>
          </p:cNvPr>
          <p:cNvSpPr txBox="1"/>
          <p:nvPr/>
        </p:nvSpPr>
        <p:spPr>
          <a:xfrm>
            <a:off x="223520" y="198438"/>
            <a:ext cx="11582718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llinbah PCI reported ash% comparison study w.r.t reporting method </a:t>
            </a: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              March’23-April’24	</a:t>
            </a:r>
          </a:p>
        </p:txBody>
      </p:sp>
      <p:graphicFrame>
        <p:nvGraphicFramePr>
          <p:cNvPr id="380" name="Chart 379">
            <a:extLst>
              <a:ext uri="{FF2B5EF4-FFF2-40B4-BE49-F238E27FC236}">
                <a16:creationId xmlns:a16="http://schemas.microsoft.com/office/drawing/2014/main" id="{4FDCF782-BE54-33B5-EE25-14528C3820F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4629584"/>
              </p:ext>
            </p:extLst>
          </p:nvPr>
        </p:nvGraphicFramePr>
        <p:xfrm>
          <a:off x="90488" y="488950"/>
          <a:ext cx="11736387" cy="2571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0"/>
          </a:graphicData>
        </a:graphic>
      </p:graphicFrame>
      <p:graphicFrame>
        <p:nvGraphicFramePr>
          <p:cNvPr id="384" name="Chart 383">
            <a:extLst>
              <a:ext uri="{FF2B5EF4-FFF2-40B4-BE49-F238E27FC236}">
                <a16:creationId xmlns:a16="http://schemas.microsoft.com/office/drawing/2014/main" id="{F314E6EE-523F-76B4-59E0-B1AA492027E7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07963222"/>
              </p:ext>
            </p:extLst>
          </p:nvPr>
        </p:nvGraphicFramePr>
        <p:xfrm>
          <a:off x="90488" y="3457575"/>
          <a:ext cx="11736387" cy="238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1"/>
          </a:graphicData>
        </a:graphic>
      </p:graphicFrame>
      <p:sp>
        <p:nvSpPr>
          <p:cNvPr id="99" name="Rectangle 98">
            <a:extLst>
              <a:ext uri="{FF2B5EF4-FFF2-40B4-BE49-F238E27FC236}">
                <a16:creationId xmlns:a16="http://schemas.microsoft.com/office/drawing/2014/main" id="{574DE367-089B-08DB-2AF3-9CE259C41A81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830263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FA897EA-8481-4B01-8D49-F8FE158DB18A}" type="datetime'''K''1''2''''MB''''M''B''''''''''''''''''''''1''''6''1''''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12MBMB161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190DF20-39A2-12EE-739F-97C516F8383E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027113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9C06B17-8567-41AC-8B23-929C54737F0D}" type="datetime'''''''K''0''''''''''''2''M''''''B''''''''M''B''''18''0''''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2MBMB180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727D696D-2FBD-E2AC-DC34-DCEEC2098E6E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225550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56ADB77-0B6A-48A7-8557-8A1C9AD4C334}" type="datetime'K''''''''0''2MBM''''''''''''B18''''''5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2MBMB185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659CE58-BA43-4F85-F9B3-342F9AC89648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422400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415D39E-F676-40A2-84D7-F22E33BBC4D7}" type="datetime'K0''2''MB''''''''''''''''M''B''1''''9''''3''''''''''''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2MBMB193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289E550B-E00A-EDC9-17C2-1CA7F988CAFF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619250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F4CF76D-0F8E-4481-AFB8-D7FE2DE66A8D}" type="datetime'''''K0''''''2''''''''''''M''''''''''''''''BM''B14''''0''''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2MBMB140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016A0D68-0103-7B58-17C2-477A674913D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816100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7138ADD-A0FB-4AAB-8B61-911479CC9ADC}" type="datetime'''''''K''''''02MB''''''''''''''M''''B1''''''''8''''4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2MBMB184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9A659571-A1EE-7945-E835-E0F167E3ED1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2014538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6E6DCB7-644F-4DCC-937D-1D690782A470}" type="datetime'K0''8''''M''B''M''B''1''''2''''''7''''''''''''''''''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8MBMB127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8277410A-4B0D-A356-A51F-3B6756CA2B78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211388" y="5676900"/>
            <a:ext cx="136525" cy="7175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7035313-E4F1-4BC1-B606-EF4C1B277903}" type="datetime'''''''''''''''TS''0''''3''''''M''''B''MB''''''''''''0''''6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3MBMB06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BC82436A-5971-151C-78A6-C53827490AF4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2408238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05C281E-5937-4EA3-AFD5-BC1765730B02}" type="datetime'''''''''''''''K03''MB''''''''''''''''''M''B''10''''''1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3MBMB101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34963F06-299B-4B1E-053A-A9CAD3423C79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605088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17CD5AC-B6D7-4E0A-BD9D-BE76401BEA6D}" type="datetime'''K''''''0''''''''3''MB''''M''''''B1''''5''''''''9''''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3MBMB159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A8F8D65F-DCE9-8C4D-508E-C42EFA5E4293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2801938" y="5676900"/>
            <a:ext cx="136525" cy="7175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84ACC02-E9B4-494D-BFEC-E0294B39F0D7}" type="datetime'''''''''''T''''''S''''0''3M''''BM''''''''''''''''''''''''B11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3MBMB11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D8AE8AAC-1EAC-BCCD-2EE4-B0718CCAA43D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3000375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5E141E6-5A51-4B2C-B746-22E607D2CC99}" type="datetime'''''K0''''3''''M''''B''''''''''M''B''''''''1''5''6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3MBMB156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399F5B93-0942-8FB7-B706-652A04B910F2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197225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2AA1E61-B404-48FA-85BE-72E3A1618052}" type="datetime'''K''''0''''''2''''''''''''''''''MBM''''''B1''''''''''''37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2MBMB137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B9886408-8E07-89D8-426A-E3E4D3F524FA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3394075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2B5F2B9-4017-4553-ABB5-668DFD370C19}" type="datetime'''''K1''''''''2''''''M''BM''''''''B16''''''9''''''''''''''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12MBMB169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889307C0-EDE4-4215-0DAA-4409BDCD22AC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3590925" y="5676900"/>
            <a:ext cx="136525" cy="5270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E8D002D-6CC0-4A8A-AE70-11FE82A8C24C}" type="datetime'''''''''''''M''''''BMB''''1''''''''''''''''2''''''5''''''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MBMB125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FEF5D4F4-C6A1-619F-DE9A-41D6FD345E3C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3787775" y="5676900"/>
            <a:ext cx="136525" cy="7175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F51C244-6236-4F11-B994-600D4D92DF90}" type="datetime'''''''''''''T''''''''S''''''0''3M''''''''''BM''B0''9''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3MBMB09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0FB76857-C3E6-8165-378B-9971D97F7186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3986213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27EC9D4-C962-40A9-B413-C94D5A6B6897}" type="datetime'K0''''''4''M''''''''''B''M''''B''1''''2''''8''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4MBMB128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99BE7477-0FCD-E895-944D-C7D0ECBC41F3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4183063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CC6D9B0-E47A-4823-8ED3-D663D47FA20C}" type="datetime'''''''''K''0''''3''M''''B''''''''''M''''''B''''19''''4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3MBMB194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16F3796B-E94A-EA23-D6EF-BB146E58DCD0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4379913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A70F8D5-312F-4857-A2C9-8370A470EC74}" type="datetime'K''''''''''''''08''MBM''''B''13''''''''''''''''''''7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8MBMB137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574E8503-E9A7-006C-5DD1-0C670AAEC8CB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4576763" y="5676900"/>
            <a:ext cx="136525" cy="5270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068B75D-6E4C-405A-BA32-B6E684731FE8}" type="datetime'''M''''''BM''''''''''B''1''''''''''''''''''''''''''''''75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MBMB175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D9F72994-E250-EC7A-6112-ECC52535C413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4775200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BF3194F-4381-47D2-A5A6-2B446696870B}" type="datetime'K''''''''1''''''''''''2M''''''''B''''''M''''B''''171''''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12MBMB171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C57CF21C-1FB5-9652-72C9-BB478F3B7130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4972050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B5BC7CB-BADD-41C7-8355-7DAD0596D707}" type="datetime'''K03''''''''''''''''''M''''''''B''M''''''B''''''16''''''''2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3MBMB162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F8A3733C-A757-3903-634F-10F8D1E36AF2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5168900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9D911F9-7A21-438D-890E-F43DE973F881}" type="datetime'''K''0''''''''3M''''''''''B''''''''''M''B1''9''''1''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3MBMB191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BAB567E-8C6A-243B-C662-1DCC36E29034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5365750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3B15BD4-3950-4660-A9AF-EA1483F3FEAB}" type="datetime'K''''''''''1''''''''''''2MBM''''''''''''''''''''B''''''1''56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12MBMB156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42A0BF48-37C0-3D58-1631-F4243CF15B66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5562600" y="5676900"/>
            <a:ext cx="136525" cy="7175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8EAFA53-1567-431F-A444-C5302EFEFC93}" type="datetime'TS''0''''''4''''MBM''''B0''''''''2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4MBMB02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2A4D2FE9-9926-552C-A5CA-F5CAE5E7FC4C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5761038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05F9AA5-8762-4421-8359-16AD9D970210}" type="datetime'K0''3''''''''''M''B''''''M''B''''''''2''''0''1''''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3MBMB201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E1884E32-8256-AE61-2A47-F89D5A78CE54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5957888" y="5676900"/>
            <a:ext cx="136525" cy="7175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206A082-BEE9-4AD7-AAF9-FD53DC1EC01B}" type="datetime'T''''''''''S1''''''''''2''''''''''MB''''M''B''''0''''2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12MBMB02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554A17BB-9A07-3729-E727-5F7129969316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6154738" y="5676900"/>
            <a:ext cx="136525" cy="5270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7E037AC-2C06-485D-B084-05D69370CE41}" type="datetime'''M''''BM''''B1''''''''''''''''''''1''''''''''''''''''''''''6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MBMB116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C472E1AB-9C4C-9ABB-ACFE-CB9A25A6A8A1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6351588" y="5676900"/>
            <a:ext cx="136525" cy="7175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2D0903E-A890-4FE5-9B72-D3C36EB9438E}" type="datetime'''T''S1''''1M''''''''B''MB0''''''7''''''''''''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11MBMB07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3EEE8667-6968-9CD4-D25E-FC9B6B1C9766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6548438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DFE4134-FAE3-4EBA-8B46-4DB8CDD60E38}" type="datetime'''''''''''K''''''02MB''''M''''''''B''1''97''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2MBMB197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6729352F-F53A-4117-9588-1E88791B42A8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6746875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E66C7E3-0DB6-4D5F-873C-F8744E8CE752}" type="datetime'K''03''M''''BM''''''''''''''''''B''''1''68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3MBMB168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918EECE1-4D40-B0D4-A8F1-4AB48590E632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6943725" y="5676900"/>
            <a:ext cx="136525" cy="5270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2F3739D-CA31-4CE7-B42E-886C22664B7D}" type="datetime'''''M''''''''''B''M''''B''''1''0''7''''''''''''''''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MBMB107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38EFC69E-016F-F722-C744-EC57553B40F0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7140575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0A0B818-5587-4429-B690-5BF1BFB314C0}" type="datetime'''''K''0''4''''M''B''''''''''''''M''B1''''''''''''''81''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4MBMB181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F279A47E-41A6-4284-4768-9D5148113965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7337425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82FD2BE-DC01-4B94-B18B-33F35D73F25C}" type="datetime'K''0''''''''4''M''''''BM''B''''''''1''''''''7''''''''''''8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4MBMB178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590D67DA-F63C-578C-F4D0-9A062097245C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7535863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46B32AC-F951-4082-BD6D-9D7CD9F580DA}" type="datetime'''K''''''''0''3''''''MBMB''''2''''''''0''''''''''5''''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3MBMB205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5F506C20-98D7-C89E-6D22-7C42DC62FCA1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7732713" y="5676900"/>
            <a:ext cx="136525" cy="7175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3130D7D-4A19-4563-B077-1D686274407C}" type="datetime'''T''''''''S''''''''0''''''''''4''''''MBM''B''''''''0''8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4MBMB08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30308988-E5B8-462B-54D2-EC5572FEDB64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7929563" y="5676900"/>
            <a:ext cx="136525" cy="5270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4B14E1C-5C42-426A-A792-0ED3D4577CAD}" type="datetime'''M''''''''''''''''''''''''''''B''''M''B''''''''''1''''''2''2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MBMB122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481674AE-CDF0-4980-B974-4B467CB20616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8126413" y="5676900"/>
            <a:ext cx="136525" cy="7175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FEC4D49-9CD2-4330-9F6B-7B8C762C4735}" type="datetime'''''T''''S''''''''''1''1''M''''''''BM''''''B''1''''''1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11MBMB11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DC5AD558-C4D9-4341-3B4C-5B799D87A299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8323263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1F86F91-0952-412B-8377-E046DCB922B3}" type="datetime'''''''''''''''K1''''''''2''''''''''''M''''BM''B''16''''''0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12MBMB160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F1FC2F6E-C066-E85C-8853-2F7AFFA50E5F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8521700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EA7D77B-B447-4EFD-BBF4-647C7562C648}" type="datetime'''K''''''''''12''''''MB''''MB''''''1''''''''7''''5''''''''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12MBMB175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BA29FA31-7B8A-A296-F7B7-3F9AED62E942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8718550" y="5676900"/>
            <a:ext cx="136525" cy="7175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B6AF357-1095-4F6D-9236-B62B2A7D55E7}" type="datetime'TS''''''0''3''''''M''B''''''MB''1''''''''''''8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3MBMB18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A41A33D8-0E12-2D9C-8E53-E37339241EA1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8915400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799C93D-0593-4F5B-B5CE-A526D54EA244}" type="datetime'''''''K''0''4''''''''''''''''M''''BM''''''B''''''1''''77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4MBMB177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14BA724B-A773-A79B-073D-D23A9FBE66D3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633413" y="5676900"/>
            <a:ext cx="136525" cy="7175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8295551-BFC3-4AC1-B382-14F72185DF1D}" type="datetime'''T''''''S1''''''''1''''M''B''''''''''''''M''''B04''''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11MBMB04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9642A3FD-27B3-1BBA-EEB7-C99E46A1A741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9309100" y="5676900"/>
            <a:ext cx="136525" cy="7175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074C7B1-C451-4280-BD44-4FC277C6767B}" type="datetime'''''TS''''''''''0''3''M''''''''''''BM''B''''07''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03MBMB07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66A387C0-A371-EA86-B9EA-DD42C23C1778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9507538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669DE7C-174A-4D60-A721-4F1BD1D11756}" type="datetime'K''0''''8''''M''''BMB''1''''''''''''''''''''''3''''''6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8MBMB136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F4D25899-E6F3-4F2E-BD04-1C82EF6C6194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9704388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B6C556C-4E62-436B-989D-2AC29F0E9B9E}" type="datetime'''''''''''''''''''K0''''2''M''''''''BMB1''''''''''''3''5''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2MBMB135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C9D07AAB-E2E3-30F0-BC94-58D573FC5FFC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9901238" y="5676900"/>
            <a:ext cx="136525" cy="7175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1941F1D-47EE-4B5E-8AD7-55894F6F65A0}" type="datetime'TS1''''''''2''M''''B''''''''M''''''''''''B''''05''''''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S12MBMB05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B7B1F677-AEB4-C669-E62C-97ADE544CAC6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10098088" y="5676900"/>
            <a:ext cx="136525" cy="5270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354CDF4-8B18-456D-8FE8-7B4A0CE11CDE}" type="datetime'''''''M''''''''''B''''''''M''B''''''''''''''''110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MBMB110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C5AAAD9F-7E90-4CA5-21ED-9BA2069DA6AE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10296525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B661576-D0F7-4E2D-B2E2-9DB501908F52}" type="datetime'K''0''4''''''''''''''''M''''B''''''''M''B''1''''8''''''''3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4MBMB183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12F75B85-4D8E-C4EF-17EE-C42E1D8F4B40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9112250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8CADEDA-CDE2-4795-BE82-0B76C21609AD}" type="datetime'K''''''1''''''2MB''MB''''''''''''''''''''''''''''''''177''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12MBMB177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5958180B-71A5-A9EE-9FF7-AAE7AC423B2E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10690225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07DFFD0-BAC2-4DED-B8A9-D11B39879331}" type="datetime'''''K''''''''0''''''3''''''''''M''''BM''''''''''B1''''03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3MBMB103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478E43A2-832B-ECAD-82F6-963E37804076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10887075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D04695E-2A9D-47EC-AC60-92F6C3FB7F97}" type="datetime'K0''''''3MB''''''M''''''''''''''''''''B''''1''''''6''''4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3MBMB164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A2F790B9-30E9-F137-A9EC-11CBC4D1AF80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11083925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6334E0E-6215-48FC-9DCB-4276AA87EA3E}" type="datetime'K03''''M''''B''''M''''''''''B''''''''''1''74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03MBMB174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5B77DE26-AB21-2301-75EC-6457272979D5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11282363" y="5676900"/>
            <a:ext cx="136525" cy="5270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2EB5567-B2BD-448D-B15C-1523A70D4807}" type="datetime'''''''''''''M''''''B''''MB1''''''''''''2''''''''7''''''''''''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MBMB127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6582E33C-B2F3-9FCC-A116-C2382963524C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11479213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16F6FF8-9B99-4F5C-8478-572B256C3DF2}" type="datetime'''''K''''''''''1''2''''MB''''''M''''''''''''''B''''''15''''8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12MBMB158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C01268AD-73B2-23E0-2890-E05853ACD367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11676063" y="5676900"/>
            <a:ext cx="136525" cy="7239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8EC52FB-4FF9-400A-9CBC-1C9E1E239398}" type="datetime'''''''K''''''''''12''''MB''MB''''1''''''''''6''''''5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12MBMB165</a:t>
            </a:fld>
            <a:endParaRPr lang="en-IN" sz="900">
              <a:solidFill>
                <a:schemeClr val="tx1"/>
              </a:solidFill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A1A0EF76-E0F7-C786-657B-BA346E59B3C2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10493375" y="5676900"/>
            <a:ext cx="136525" cy="5270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D6A1B92-85BB-4914-823F-DDC6FA7A9035}" type="datetime'''''''''''''M''''''''''''''''B''''''M''B''''13''''''''''3'">
              <a:rPr lang="en-IN" altLang="en-US" sz="9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MBMB133</a:t>
            </a:fld>
            <a:endParaRPr lang="en-IN" sz="900">
              <a:solidFill>
                <a:schemeClr val="tx1"/>
              </a:solidFill>
            </a:endParaRPr>
          </a:p>
        </p:txBody>
      </p:sp>
      <p:graphicFrame>
        <p:nvGraphicFramePr>
          <p:cNvPr id="244" name="Table 109">
            <a:extLst>
              <a:ext uri="{FF2B5EF4-FFF2-40B4-BE49-F238E27FC236}">
                <a16:creationId xmlns:a16="http://schemas.microsoft.com/office/drawing/2014/main" id="{694A0BA2-736A-F897-BF26-DB88361D88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0952781"/>
              </p:ext>
            </p:extLst>
          </p:nvPr>
        </p:nvGraphicFramePr>
        <p:xfrm>
          <a:off x="4794251" y="2760981"/>
          <a:ext cx="3243196" cy="103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7893">
                  <a:extLst>
                    <a:ext uri="{9D8B030D-6E8A-4147-A177-3AD203B41FA5}">
                      <a16:colId xmlns:a16="http://schemas.microsoft.com/office/drawing/2014/main" val="368034030"/>
                    </a:ext>
                  </a:extLst>
                </a:gridCol>
                <a:gridCol w="1730693">
                  <a:extLst>
                    <a:ext uri="{9D8B030D-6E8A-4147-A177-3AD203B41FA5}">
                      <a16:colId xmlns:a16="http://schemas.microsoft.com/office/drawing/2014/main" val="3474811329"/>
                    </a:ext>
                  </a:extLst>
                </a:gridCol>
                <a:gridCol w="594610">
                  <a:extLst>
                    <a:ext uri="{9D8B030D-6E8A-4147-A177-3AD203B41FA5}">
                      <a16:colId xmlns:a16="http://schemas.microsoft.com/office/drawing/2014/main" val="1052012097"/>
                    </a:ext>
                  </a:extLst>
                </a:gridCol>
              </a:tblGrid>
              <a:tr h="259001">
                <a:tc>
                  <a:txBody>
                    <a:bodyPr/>
                    <a:lstStyle/>
                    <a:p>
                      <a:r>
                        <a:rPr lang="en-IN" sz="1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cation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ho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h%      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5922120"/>
                  </a:ext>
                </a:extLst>
              </a:tr>
              <a:tr h="259001"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ir Dry basi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3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2379304"/>
                  </a:ext>
                </a:extLst>
              </a:tr>
              <a:tr h="259001"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599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y basi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4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1521363"/>
                  </a:ext>
                </a:extLst>
              </a:tr>
              <a:tr h="259001"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S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599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y basi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9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3448036"/>
                  </a:ext>
                </a:extLst>
              </a:tr>
            </a:tbl>
          </a:graphicData>
        </a:graphic>
      </p:graphicFrame>
      <p:cxnSp>
        <p:nvCxnSpPr>
          <p:cNvPr id="245" name="Straight Arrow Connector 244">
            <a:extLst>
              <a:ext uri="{FF2B5EF4-FFF2-40B4-BE49-F238E27FC236}">
                <a16:creationId xmlns:a16="http://schemas.microsoft.com/office/drawing/2014/main" id="{3810445D-09E5-68F7-3533-7FC6F11E08D6}"/>
              </a:ext>
            </a:extLst>
          </p:cNvPr>
          <p:cNvCxnSpPr/>
          <p:nvPr/>
        </p:nvCxnSpPr>
        <p:spPr>
          <a:xfrm>
            <a:off x="7918450" y="3085466"/>
            <a:ext cx="0" cy="3873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7" name="TextBox 246">
            <a:extLst>
              <a:ext uri="{FF2B5EF4-FFF2-40B4-BE49-F238E27FC236}">
                <a16:creationId xmlns:a16="http://schemas.microsoft.com/office/drawing/2014/main" id="{E952CA9A-1210-2515-79C1-796BFD1DD4C9}"/>
              </a:ext>
            </a:extLst>
          </p:cNvPr>
          <p:cNvSpPr txBox="1"/>
          <p:nvPr/>
        </p:nvSpPr>
        <p:spPr>
          <a:xfrm>
            <a:off x="795179" y="634365"/>
            <a:ext cx="69138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Air Dry(ADB) at </a:t>
            </a:r>
            <a:r>
              <a:rPr lang="en-GB" b="1">
                <a:solidFill>
                  <a:srgbClr val="000000"/>
                </a:solidFill>
                <a:latin typeface="Calibri" panose="020F0502020204030204" pitchFamily="34" charset="0"/>
              </a:rPr>
              <a:t>LP</a:t>
            </a:r>
            <a:r>
              <a:rPr lang="en-GB" sz="1800" b="1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 to Dry Basis(DB) at TSM</a:t>
            </a:r>
            <a:endParaRPr lang="en-IN"/>
          </a:p>
        </p:txBody>
      </p:sp>
      <p:sp>
        <p:nvSpPr>
          <p:cNvPr id="319" name="Oval 318">
            <a:hlinkClick r:id="rId82" action="ppaction://hlinksldjump"/>
            <a:extLst>
              <a:ext uri="{FF2B5EF4-FFF2-40B4-BE49-F238E27FC236}">
                <a16:creationId xmlns:a16="http://schemas.microsoft.com/office/drawing/2014/main" id="{25AE6E26-A01D-C7C6-46DA-8C2C6E6D7576}"/>
              </a:ext>
            </a:extLst>
          </p:cNvPr>
          <p:cNvSpPr/>
          <p:nvPr/>
        </p:nvSpPr>
        <p:spPr>
          <a:xfrm>
            <a:off x="6488298" y="6681537"/>
            <a:ext cx="132162" cy="10984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309" name="Straight Connector 308">
            <a:extLst>
              <a:ext uri="{FF2B5EF4-FFF2-40B4-BE49-F238E27FC236}">
                <a16:creationId xmlns:a16="http://schemas.microsoft.com/office/drawing/2014/main" id="{0F186B89-B118-D11B-DA43-0BBCC5391700}"/>
              </a:ext>
            </a:extLst>
          </p:cNvPr>
          <p:cNvCxnSpPr/>
          <p:nvPr>
            <p:custDataLst>
              <p:tags r:id="rId61"/>
            </p:custDataLst>
          </p:nvPr>
        </p:nvCxnSpPr>
        <p:spPr bwMode="gray">
          <a:xfrm>
            <a:off x="8093075" y="2741613"/>
            <a:ext cx="141288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0" name="Straight Connector 309">
            <a:extLst>
              <a:ext uri="{FF2B5EF4-FFF2-40B4-BE49-F238E27FC236}">
                <a16:creationId xmlns:a16="http://schemas.microsoft.com/office/drawing/2014/main" id="{CE37446B-2947-32F8-DCD8-537490F98D51}"/>
              </a:ext>
            </a:extLst>
          </p:cNvPr>
          <p:cNvCxnSpPr/>
          <p:nvPr>
            <p:custDataLst>
              <p:tags r:id="rId62"/>
            </p:custDataLst>
          </p:nvPr>
        </p:nvCxnSpPr>
        <p:spPr bwMode="gray">
          <a:xfrm>
            <a:off x="8869363" y="2741613"/>
            <a:ext cx="141288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1" name="Straight Connector 310">
            <a:extLst>
              <a:ext uri="{FF2B5EF4-FFF2-40B4-BE49-F238E27FC236}">
                <a16:creationId xmlns:a16="http://schemas.microsoft.com/office/drawing/2014/main" id="{0E769952-1932-1730-59B9-F5F41C142433}"/>
              </a:ext>
            </a:extLst>
          </p:cNvPr>
          <p:cNvCxnSpPr/>
          <p:nvPr>
            <p:custDataLst>
              <p:tags r:id="rId63"/>
            </p:custDataLst>
          </p:nvPr>
        </p:nvCxnSpPr>
        <p:spPr bwMode="gray">
          <a:xfrm>
            <a:off x="9664700" y="2741613"/>
            <a:ext cx="141288" cy="0"/>
          </a:xfrm>
          <a:prstGeom prst="line">
            <a:avLst/>
          </a:prstGeom>
          <a:ln w="19050" cap="rnd" cmpd="sng" algn="ctr">
            <a:solidFill>
              <a:srgbClr val="D6D7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DEEDF17A-005F-8A5A-E808-2B1A0FDAC544}"/>
              </a:ext>
            </a:extLst>
          </p:cNvPr>
          <p:cNvCxnSpPr/>
          <p:nvPr>
            <p:custDataLst>
              <p:tags r:id="rId64"/>
            </p:custDataLst>
          </p:nvPr>
        </p:nvCxnSpPr>
        <p:spPr bwMode="gray">
          <a:xfrm>
            <a:off x="10706100" y="2741613"/>
            <a:ext cx="141288" cy="0"/>
          </a:xfrm>
          <a:prstGeom prst="line">
            <a:avLst/>
          </a:prstGeom>
          <a:ln w="19050" cap="rnd" cmpd="sng" algn="ctr">
            <a:solidFill>
              <a:srgbClr val="96969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2" name="Rectangle 301">
            <a:extLst>
              <a:ext uri="{FF2B5EF4-FFF2-40B4-BE49-F238E27FC236}">
                <a16:creationId xmlns:a16="http://schemas.microsoft.com/office/drawing/2014/main" id="{9652EDBA-F583-5680-1190-713ED20EFC80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8294688" y="2678114"/>
            <a:ext cx="463550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5A9C7B0-78DC-4B44-904E-1E19CABA2176}" type="datetime'L''''P''''''(''''''''''''A''''D''''''B'')'''''''''''''''">
              <a:rPr lang="en-IN" altLang="en-US" sz="900" b="1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LP(ADB)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03" name="Rectangle 302">
            <a:extLst>
              <a:ext uri="{FF2B5EF4-FFF2-40B4-BE49-F238E27FC236}">
                <a16:creationId xmlns:a16="http://schemas.microsoft.com/office/drawing/2014/main" id="{BAD628A0-BCDF-53EE-35D2-2F529D3FC0F6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9070975" y="2678114"/>
            <a:ext cx="482600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DBAB8A8-C01B-4755-973F-3BE1CD6D5799}" type="datetime'''TS''''M''''''''(''''''''''''''DB'''''''')'''''''''''">
              <a:rPr lang="en-IN" altLang="en-US" sz="900" b="1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TSM(DB)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04" name="Rectangle 303">
            <a:extLst>
              <a:ext uri="{FF2B5EF4-FFF2-40B4-BE49-F238E27FC236}">
                <a16:creationId xmlns:a16="http://schemas.microsoft.com/office/drawing/2014/main" id="{7D914099-BCA5-CEEA-D4F2-F7D300269A12}"/>
              </a:ext>
            </a:extLst>
          </p:cNvPr>
          <p:cNvSpPr/>
          <p:nvPr>
            <p:custDataLst>
              <p:tags r:id="rId67"/>
            </p:custDataLst>
          </p:nvPr>
        </p:nvSpPr>
        <p:spPr bwMode="auto">
          <a:xfrm>
            <a:off x="9866313" y="2678114"/>
            <a:ext cx="728663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B3433D9-8EFA-4315-9D7A-A53CBCCC6581}" type="datetime'L''''P''(A''DB'')+''''''0''''''''''''''.''''5''''5'''''''''">
              <a:rPr lang="en-IN" altLang="en-US" sz="900" b="1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LP(ADB)+0.55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05" name="Rectangle 304">
            <a:extLst>
              <a:ext uri="{FF2B5EF4-FFF2-40B4-BE49-F238E27FC236}">
                <a16:creationId xmlns:a16="http://schemas.microsoft.com/office/drawing/2014/main" id="{EE50A448-3A09-3E31-A29D-FC44DEB6B611}"/>
              </a:ext>
            </a:extLst>
          </p:cNvPr>
          <p:cNvSpPr/>
          <p:nvPr>
            <p:custDataLst>
              <p:tags r:id="rId68"/>
            </p:custDataLst>
          </p:nvPr>
        </p:nvSpPr>
        <p:spPr bwMode="auto">
          <a:xfrm>
            <a:off x="10907714" y="2678114"/>
            <a:ext cx="701675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75330D7-916A-4EC5-8CB4-95354A19362D}" type="datetime'L''''''P(''''''AD''''''B'''''')''-''''''''0''''.''5''''5'''''">
              <a:rPr lang="en-IN" altLang="en-US" sz="900" b="1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LP(ADB)-0.55</a:t>
            </a:fld>
            <a:endParaRPr lang="en-IN" sz="900" b="1">
              <a:solidFill>
                <a:schemeClr val="tx1"/>
              </a:solidFill>
            </a:endParaRPr>
          </a:p>
        </p:txBody>
      </p:sp>
      <p:cxnSp>
        <p:nvCxnSpPr>
          <p:cNvPr id="365" name="Straight Connector 364">
            <a:extLst>
              <a:ext uri="{FF2B5EF4-FFF2-40B4-BE49-F238E27FC236}">
                <a16:creationId xmlns:a16="http://schemas.microsoft.com/office/drawing/2014/main" id="{EA8C8183-8ADF-90CB-8B86-178FDFE53E7F}"/>
              </a:ext>
            </a:extLst>
          </p:cNvPr>
          <p:cNvCxnSpPr/>
          <p:nvPr>
            <p:custDataLst>
              <p:tags r:id="rId69"/>
            </p:custDataLst>
          </p:nvPr>
        </p:nvCxnSpPr>
        <p:spPr bwMode="gray">
          <a:xfrm>
            <a:off x="8369300" y="5519738"/>
            <a:ext cx="141288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6" name="Straight Connector 365">
            <a:extLst>
              <a:ext uri="{FF2B5EF4-FFF2-40B4-BE49-F238E27FC236}">
                <a16:creationId xmlns:a16="http://schemas.microsoft.com/office/drawing/2014/main" id="{AE7C1E9A-6C88-B6D3-FF24-3965389A2DAA}"/>
              </a:ext>
            </a:extLst>
          </p:cNvPr>
          <p:cNvCxnSpPr/>
          <p:nvPr>
            <p:custDataLst>
              <p:tags r:id="rId70"/>
            </p:custDataLst>
          </p:nvPr>
        </p:nvCxnSpPr>
        <p:spPr bwMode="gray">
          <a:xfrm>
            <a:off x="9063038" y="5519738"/>
            <a:ext cx="141288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7" name="Straight Connector 366">
            <a:extLst>
              <a:ext uri="{FF2B5EF4-FFF2-40B4-BE49-F238E27FC236}">
                <a16:creationId xmlns:a16="http://schemas.microsoft.com/office/drawing/2014/main" id="{5F03154C-984A-A777-645E-B1B4CB46221B}"/>
              </a:ext>
            </a:extLst>
          </p:cNvPr>
          <p:cNvCxnSpPr/>
          <p:nvPr>
            <p:custDataLst>
              <p:tags r:id="rId71"/>
            </p:custDataLst>
          </p:nvPr>
        </p:nvCxnSpPr>
        <p:spPr bwMode="gray">
          <a:xfrm>
            <a:off x="9858375" y="5519738"/>
            <a:ext cx="141288" cy="0"/>
          </a:xfrm>
          <a:prstGeom prst="line">
            <a:avLst/>
          </a:prstGeom>
          <a:ln w="19050" cap="rnd" cmpd="sng" algn="ctr">
            <a:solidFill>
              <a:srgbClr val="D6D7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8" name="Straight Connector 367">
            <a:extLst>
              <a:ext uri="{FF2B5EF4-FFF2-40B4-BE49-F238E27FC236}">
                <a16:creationId xmlns:a16="http://schemas.microsoft.com/office/drawing/2014/main" id="{1C301DD9-C876-5E04-9460-C7F60A3F7819}"/>
              </a:ext>
            </a:extLst>
          </p:cNvPr>
          <p:cNvCxnSpPr/>
          <p:nvPr>
            <p:custDataLst>
              <p:tags r:id="rId72"/>
            </p:custDataLst>
          </p:nvPr>
        </p:nvCxnSpPr>
        <p:spPr bwMode="gray">
          <a:xfrm>
            <a:off x="10817225" y="5519738"/>
            <a:ext cx="141288" cy="0"/>
          </a:xfrm>
          <a:prstGeom prst="line">
            <a:avLst/>
          </a:prstGeom>
          <a:ln w="19050" cap="rnd" cmpd="sng" algn="ctr">
            <a:solidFill>
              <a:srgbClr val="D6D7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0" name="Rectangle 219">
            <a:extLst>
              <a:ext uri="{FF2B5EF4-FFF2-40B4-BE49-F238E27FC236}">
                <a16:creationId xmlns:a16="http://schemas.microsoft.com/office/drawing/2014/main" id="{D355A9B4-F7E5-98D4-3BFA-187DF6CEACE9}"/>
              </a:ext>
            </a:extLst>
          </p:cNvPr>
          <p:cNvSpPr/>
          <p:nvPr>
            <p:custDataLst>
              <p:tags r:id="rId73"/>
            </p:custDataLst>
          </p:nvPr>
        </p:nvSpPr>
        <p:spPr bwMode="auto">
          <a:xfrm>
            <a:off x="8570913" y="5456238"/>
            <a:ext cx="381000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3686BDD-8D6B-4EBE-BF75-735FFA9EDD53}" type="datetime'''''''''''''''''''''''''''''''LP''''(D''''B'')'''''''''''''''">
              <a:rPr lang="en-IN" altLang="en-US" sz="900" b="1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LP(DB)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7C565DCF-A8BB-2A46-AC95-10E59EC57758}"/>
              </a:ext>
            </a:extLst>
          </p:cNvPr>
          <p:cNvSpPr/>
          <p:nvPr>
            <p:custDataLst>
              <p:tags r:id="rId74"/>
            </p:custDataLst>
          </p:nvPr>
        </p:nvSpPr>
        <p:spPr bwMode="auto">
          <a:xfrm>
            <a:off x="10059988" y="5456238"/>
            <a:ext cx="646113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AB9FBF0-1825-45CA-920A-AEC62F6763CE}" type="datetime'''L''P(D''B)''''''''+0''''''''''''.5''''''5'''''''''''''''">
              <a:rPr lang="en-IN" altLang="en-US" sz="900" b="1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LP(DB)+0.55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931A545C-658E-B533-FF6C-0D9C84E3F72D}"/>
              </a:ext>
            </a:extLst>
          </p:cNvPr>
          <p:cNvSpPr/>
          <p:nvPr>
            <p:custDataLst>
              <p:tags r:id="rId75"/>
            </p:custDataLst>
          </p:nvPr>
        </p:nvSpPr>
        <p:spPr bwMode="auto">
          <a:xfrm>
            <a:off x="9264650" y="5456238"/>
            <a:ext cx="482600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F82B795-7D8B-48EF-B596-8B27C1197A04}" type="datetime'T''SM''''(''''''''''D''B'''''''')'">
              <a:rPr lang="en-IN" altLang="en-US" sz="900" b="1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TSM(DB)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884B72F3-A981-F534-97DD-BB9E3C3BF7D2}"/>
              </a:ext>
            </a:extLst>
          </p:cNvPr>
          <p:cNvSpPr/>
          <p:nvPr>
            <p:custDataLst>
              <p:tags r:id="rId76"/>
            </p:custDataLst>
          </p:nvPr>
        </p:nvSpPr>
        <p:spPr bwMode="auto">
          <a:xfrm>
            <a:off x="11018838" y="5456238"/>
            <a:ext cx="619125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A058568-97B2-47AF-AF13-C7BAF5200BF0}" type="datetime'''''''''''''L''P(''''''''DB)''-''''''0''''.''''5''''5'">
              <a:rPr lang="en-IN" altLang="en-US" sz="900" b="1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LP(DB)-0.55</a:t>
            </a:fld>
            <a:endParaRPr lang="en-IN" sz="900" b="1">
              <a:solidFill>
                <a:schemeClr val="tx1"/>
              </a:solidFill>
            </a:endParaRPr>
          </a:p>
        </p:txBody>
      </p:sp>
      <p:sp>
        <p:nvSpPr>
          <p:cNvPr id="385" name="Action Button: Go Home 384">
            <a:hlinkClick r:id="rId83" action="ppaction://hlinksldjump" highlightClick="1"/>
            <a:extLst>
              <a:ext uri="{FF2B5EF4-FFF2-40B4-BE49-F238E27FC236}">
                <a16:creationId xmlns:a16="http://schemas.microsoft.com/office/drawing/2014/main" id="{F0C29634-FED8-21A6-C99B-06E1E3C6438F}"/>
              </a:ext>
            </a:extLst>
          </p:cNvPr>
          <p:cNvSpPr/>
          <p:nvPr/>
        </p:nvSpPr>
        <p:spPr>
          <a:xfrm>
            <a:off x="11811000" y="203200"/>
            <a:ext cx="314960" cy="365760"/>
          </a:xfrm>
          <a:prstGeom prst="actionButtonHom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622961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4B892C58-E729-EEC1-DBFB-1193F0F6F9CC}"/>
              </a:ext>
            </a:extLst>
          </p:cNvPr>
          <p:cNvGraphicFramePr>
            <a:graphicFrameLocks noGrp="1"/>
          </p:cNvGraphicFramePr>
          <p:nvPr/>
        </p:nvGraphicFramePr>
        <p:xfrm>
          <a:off x="350520" y="869632"/>
          <a:ext cx="11404601" cy="5531168"/>
        </p:xfrm>
        <a:graphic>
          <a:graphicData uri="http://schemas.openxmlformats.org/drawingml/2006/table">
            <a:tbl>
              <a:tblPr/>
              <a:tblGrid>
                <a:gridCol w="901772">
                  <a:extLst>
                    <a:ext uri="{9D8B030D-6E8A-4147-A177-3AD203B41FA5}">
                      <a16:colId xmlns:a16="http://schemas.microsoft.com/office/drawing/2014/main" val="2551721335"/>
                    </a:ext>
                  </a:extLst>
                </a:gridCol>
                <a:gridCol w="539333">
                  <a:extLst>
                    <a:ext uri="{9D8B030D-6E8A-4147-A177-3AD203B41FA5}">
                      <a16:colId xmlns:a16="http://schemas.microsoft.com/office/drawing/2014/main" val="2471051702"/>
                    </a:ext>
                  </a:extLst>
                </a:gridCol>
                <a:gridCol w="858146">
                  <a:extLst>
                    <a:ext uri="{9D8B030D-6E8A-4147-A177-3AD203B41FA5}">
                      <a16:colId xmlns:a16="http://schemas.microsoft.com/office/drawing/2014/main" val="1675303813"/>
                    </a:ext>
                  </a:extLst>
                </a:gridCol>
                <a:gridCol w="1167323">
                  <a:extLst>
                    <a:ext uri="{9D8B030D-6E8A-4147-A177-3AD203B41FA5}">
                      <a16:colId xmlns:a16="http://schemas.microsoft.com/office/drawing/2014/main" val="4146480778"/>
                    </a:ext>
                  </a:extLst>
                </a:gridCol>
                <a:gridCol w="1290115">
                  <a:extLst>
                    <a:ext uri="{9D8B030D-6E8A-4147-A177-3AD203B41FA5}">
                      <a16:colId xmlns:a16="http://schemas.microsoft.com/office/drawing/2014/main" val="3742153910"/>
                    </a:ext>
                  </a:extLst>
                </a:gridCol>
                <a:gridCol w="778481">
                  <a:extLst>
                    <a:ext uri="{9D8B030D-6E8A-4147-A177-3AD203B41FA5}">
                      <a16:colId xmlns:a16="http://schemas.microsoft.com/office/drawing/2014/main" val="3823123664"/>
                    </a:ext>
                  </a:extLst>
                </a:gridCol>
                <a:gridCol w="2066405">
                  <a:extLst>
                    <a:ext uri="{9D8B030D-6E8A-4147-A177-3AD203B41FA5}">
                      <a16:colId xmlns:a16="http://schemas.microsoft.com/office/drawing/2014/main" val="3803623137"/>
                    </a:ext>
                  </a:extLst>
                </a:gridCol>
                <a:gridCol w="1713601">
                  <a:extLst>
                    <a:ext uri="{9D8B030D-6E8A-4147-A177-3AD203B41FA5}">
                      <a16:colId xmlns:a16="http://schemas.microsoft.com/office/drawing/2014/main" val="4169454286"/>
                    </a:ext>
                  </a:extLst>
                </a:gridCol>
                <a:gridCol w="2089425">
                  <a:extLst>
                    <a:ext uri="{9D8B030D-6E8A-4147-A177-3AD203B41FA5}">
                      <a16:colId xmlns:a16="http://schemas.microsoft.com/office/drawing/2014/main" val="3643471336"/>
                    </a:ext>
                  </a:extLst>
                </a:gridCol>
              </a:tblGrid>
              <a:tr h="28073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NTH</a:t>
                      </a:r>
                    </a:p>
                  </a:txBody>
                  <a:tcPr marL="5095" marR="5095" marT="509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ORT</a:t>
                      </a:r>
                    </a:p>
                  </a:txBody>
                  <a:tcPr marL="5095" marR="5095" marT="509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AKE</a:t>
                      </a:r>
                    </a:p>
                  </a:txBody>
                  <a:tcPr marL="5095" marR="5095" marT="509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VESSEL</a:t>
                      </a:r>
                    </a:p>
                  </a:txBody>
                  <a:tcPr marL="5095" marR="5095" marT="509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NTRACTED</a:t>
                      </a:r>
                    </a:p>
                  </a:txBody>
                  <a:tcPr marL="5095" marR="5095" marT="509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LP(ADB)</a:t>
                      </a:r>
                    </a:p>
                  </a:txBody>
                  <a:tcPr marL="5095" marR="5095" marT="509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SJ(DB)</a:t>
                      </a:r>
                    </a:p>
                  </a:txBody>
                  <a:tcPr marL="5095" marR="5095" marT="509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SJ is within ± 0.28</a:t>
                      </a:r>
                    </a:p>
                  </a:txBody>
                  <a:tcPr marL="5095" marR="5095" marT="509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SJ is within ± 0.55</a:t>
                      </a:r>
                    </a:p>
                  </a:txBody>
                  <a:tcPr marL="5095" marR="5095" marT="509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4417787"/>
                  </a:ext>
                </a:extLst>
              </a:tr>
              <a:tr h="2386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-FEB-2024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2TWS120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KIZAYA FUTURE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0938568"/>
                  </a:ext>
                </a:extLst>
              </a:tr>
              <a:tr h="2386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-MAR-2023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TWS65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K GENERATION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96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2162263"/>
                  </a:ext>
                </a:extLst>
              </a:tr>
              <a:tr h="2386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-JAN-2024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D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01NHT31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GL FIRST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1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2698866"/>
                  </a:ext>
                </a:extLst>
              </a:tr>
              <a:tr h="2386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-MAR-2024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TWS19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CEOUS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1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2249109"/>
                  </a:ext>
                </a:extLst>
              </a:tr>
              <a:tr h="2386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-FEB-2024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2TWS108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KIZAYA FUTURE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0029915"/>
                  </a:ext>
                </a:extLst>
              </a:tr>
              <a:tr h="2386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-FEB-2024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2TWS13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403824"/>
                  </a:ext>
                </a:extLst>
              </a:tr>
              <a:tr h="2386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-FEB-2024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2TWS91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KIZAYA FUTURE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1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0460932"/>
                  </a:ext>
                </a:extLst>
              </a:tr>
              <a:tr h="2386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-MAR-2024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TWS24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CEOUS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9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6008920"/>
                  </a:ext>
                </a:extLst>
              </a:tr>
              <a:tr h="2386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-FEB-2024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2TWS97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KIZAYA FUTURE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3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8180676"/>
                  </a:ext>
                </a:extLst>
              </a:tr>
              <a:tr h="2386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-MAR-2024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TWS74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YAL ARGO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9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4559747"/>
                  </a:ext>
                </a:extLst>
              </a:tr>
              <a:tr h="2386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-AUG-2023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D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08NHT59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LAGIA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9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6459094"/>
                  </a:ext>
                </a:extLst>
              </a:tr>
              <a:tr h="2386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-MAR-2024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TWS10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7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8641768"/>
                  </a:ext>
                </a:extLst>
              </a:tr>
              <a:tr h="2386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-FEB-2024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2TWS112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KIZAYA FUTURE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5026024"/>
                  </a:ext>
                </a:extLst>
              </a:tr>
              <a:tr h="2386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-FEB-2024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2TWS104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KIZAYA FUTURE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8588182"/>
                  </a:ext>
                </a:extLst>
              </a:tr>
              <a:tr h="2386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-MAR-2024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TWS22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CEOUS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68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997846"/>
                  </a:ext>
                </a:extLst>
              </a:tr>
              <a:tr h="2386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-FEB-2024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2TWS116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KIZAYA FUTURE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6228516"/>
                  </a:ext>
                </a:extLst>
              </a:tr>
              <a:tr h="2386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-MAR-2024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TWS65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YAL ARGO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8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5678908"/>
                  </a:ext>
                </a:extLst>
              </a:tr>
              <a:tr h="2386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-APR-2023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4TWS12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O MAY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8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8364031"/>
                  </a:ext>
                </a:extLst>
              </a:tr>
              <a:tr h="2386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95" marR="5095" marT="509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95" marR="5095" marT="509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95" marR="5095" marT="509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95" marR="5095" marT="509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95" marR="5095" marT="509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95" marR="5095" marT="509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kes(Within tolerance limit)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8205289"/>
                  </a:ext>
                </a:extLst>
              </a:tr>
              <a:tr h="238656"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95" marR="5095" marT="509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95" marR="5095" marT="509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95" marR="5095" marT="509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95" marR="5095" marT="509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95" marR="5095" marT="509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95" marR="5095" marT="509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Rakes(Outside tolerance limit)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9241133"/>
                  </a:ext>
                </a:extLst>
              </a:tr>
              <a:tr h="238656"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95" marR="5095" marT="509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95" marR="5095" marT="509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95" marR="5095" marT="509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95" marR="5095" marT="509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95" marR="5095" marT="509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95" marR="5095" marT="509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Total Rakes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1717503"/>
                  </a:ext>
                </a:extLst>
              </a:tr>
              <a:tr h="238656"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95" marR="5095" marT="509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95" marR="5095" marT="509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95" marR="5095" marT="509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95" marR="5095" marT="509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95" marR="5095" marT="509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95" marR="5095" marT="509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%Rakes(Outside tolerance limit)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44.44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27.78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3052476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4EDE4E56-F97C-7518-AD11-5B3592A9B860}"/>
              </a:ext>
            </a:extLst>
          </p:cNvPr>
          <p:cNvSpPr txBox="1"/>
          <p:nvPr/>
        </p:nvSpPr>
        <p:spPr>
          <a:xfrm>
            <a:off x="223520" y="203200"/>
            <a:ext cx="118867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llinbah PCI Coal Ash % reported at TSJ- Comparison of deviation with old vs proposed set point</a:t>
            </a: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</a:p>
        </p:txBody>
      </p:sp>
      <p:sp>
        <p:nvSpPr>
          <p:cNvPr id="2" name="Action Button: Go Home 1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FAF9AA79-63A5-83B8-D764-DDFC7DD432E5}"/>
              </a:ext>
            </a:extLst>
          </p:cNvPr>
          <p:cNvSpPr/>
          <p:nvPr/>
        </p:nvSpPr>
        <p:spPr>
          <a:xfrm>
            <a:off x="11811000" y="203200"/>
            <a:ext cx="314960" cy="365760"/>
          </a:xfrm>
          <a:prstGeom prst="actionButtonHom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96912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4EDE4E56-F97C-7518-AD11-5B3592A9B860}"/>
              </a:ext>
            </a:extLst>
          </p:cNvPr>
          <p:cNvSpPr txBox="1"/>
          <p:nvPr/>
        </p:nvSpPr>
        <p:spPr>
          <a:xfrm>
            <a:off x="223520" y="203200"/>
            <a:ext cx="118867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llinbah PCI Coal Ash % reported at TSK- Comparison of deviation with old vs proposed set point</a:t>
            </a: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A743279-4C13-869D-E6CC-7489014B813E}"/>
              </a:ext>
            </a:extLst>
          </p:cNvPr>
          <p:cNvGraphicFramePr>
            <a:graphicFrameLocks noGrp="1"/>
          </p:cNvGraphicFramePr>
          <p:nvPr/>
        </p:nvGraphicFramePr>
        <p:xfrm>
          <a:off x="345439" y="774179"/>
          <a:ext cx="11358145" cy="5523155"/>
        </p:xfrm>
        <a:graphic>
          <a:graphicData uri="http://schemas.openxmlformats.org/drawingml/2006/table">
            <a:tbl>
              <a:tblPr/>
              <a:tblGrid>
                <a:gridCol w="839435">
                  <a:extLst>
                    <a:ext uri="{9D8B030D-6E8A-4147-A177-3AD203B41FA5}">
                      <a16:colId xmlns:a16="http://schemas.microsoft.com/office/drawing/2014/main" val="1309669079"/>
                    </a:ext>
                  </a:extLst>
                </a:gridCol>
                <a:gridCol w="954228">
                  <a:extLst>
                    <a:ext uri="{9D8B030D-6E8A-4147-A177-3AD203B41FA5}">
                      <a16:colId xmlns:a16="http://schemas.microsoft.com/office/drawing/2014/main" val="538812661"/>
                    </a:ext>
                  </a:extLst>
                </a:gridCol>
                <a:gridCol w="592544">
                  <a:extLst>
                    <a:ext uri="{9D8B030D-6E8A-4147-A177-3AD203B41FA5}">
                      <a16:colId xmlns:a16="http://schemas.microsoft.com/office/drawing/2014/main" val="710493808"/>
                    </a:ext>
                  </a:extLst>
                </a:gridCol>
                <a:gridCol w="715990">
                  <a:extLst>
                    <a:ext uri="{9D8B030D-6E8A-4147-A177-3AD203B41FA5}">
                      <a16:colId xmlns:a16="http://schemas.microsoft.com/office/drawing/2014/main" val="1714601456"/>
                    </a:ext>
                  </a:extLst>
                </a:gridCol>
                <a:gridCol w="1049295">
                  <a:extLst>
                    <a:ext uri="{9D8B030D-6E8A-4147-A177-3AD203B41FA5}">
                      <a16:colId xmlns:a16="http://schemas.microsoft.com/office/drawing/2014/main" val="2620236590"/>
                    </a:ext>
                  </a:extLst>
                </a:gridCol>
                <a:gridCol w="1073984">
                  <a:extLst>
                    <a:ext uri="{9D8B030D-6E8A-4147-A177-3AD203B41FA5}">
                      <a16:colId xmlns:a16="http://schemas.microsoft.com/office/drawing/2014/main" val="786372357"/>
                    </a:ext>
                  </a:extLst>
                </a:gridCol>
                <a:gridCol w="650444">
                  <a:extLst>
                    <a:ext uri="{9D8B030D-6E8A-4147-A177-3AD203B41FA5}">
                      <a16:colId xmlns:a16="http://schemas.microsoft.com/office/drawing/2014/main" val="1352629847"/>
                    </a:ext>
                  </a:extLst>
                </a:gridCol>
                <a:gridCol w="1729453">
                  <a:extLst>
                    <a:ext uri="{9D8B030D-6E8A-4147-A177-3AD203B41FA5}">
                      <a16:colId xmlns:a16="http://schemas.microsoft.com/office/drawing/2014/main" val="14389339"/>
                    </a:ext>
                  </a:extLst>
                </a:gridCol>
                <a:gridCol w="1789973">
                  <a:extLst>
                    <a:ext uri="{9D8B030D-6E8A-4147-A177-3AD203B41FA5}">
                      <a16:colId xmlns:a16="http://schemas.microsoft.com/office/drawing/2014/main" val="2582768437"/>
                    </a:ext>
                  </a:extLst>
                </a:gridCol>
                <a:gridCol w="1962799">
                  <a:extLst>
                    <a:ext uri="{9D8B030D-6E8A-4147-A177-3AD203B41FA5}">
                      <a16:colId xmlns:a16="http://schemas.microsoft.com/office/drawing/2014/main" val="4000130250"/>
                    </a:ext>
                  </a:extLst>
                </a:gridCol>
              </a:tblGrid>
              <a:tr h="21554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NTH</a:t>
                      </a:r>
                    </a:p>
                  </a:txBody>
                  <a:tcPr marL="4547" marR="4547" marT="45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agon Type</a:t>
                      </a:r>
                    </a:p>
                  </a:txBody>
                  <a:tcPr marL="4547" marR="4547" marT="45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ORT</a:t>
                      </a:r>
                    </a:p>
                  </a:txBody>
                  <a:tcPr marL="4547" marR="4547" marT="45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AKE</a:t>
                      </a:r>
                    </a:p>
                  </a:txBody>
                  <a:tcPr marL="4547" marR="4547" marT="45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VESSEL</a:t>
                      </a:r>
                    </a:p>
                  </a:txBody>
                  <a:tcPr marL="4547" marR="4547" marT="45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NTRACTED</a:t>
                      </a:r>
                    </a:p>
                  </a:txBody>
                  <a:tcPr marL="4547" marR="4547" marT="45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LP(ADB)</a:t>
                      </a:r>
                    </a:p>
                  </a:txBody>
                  <a:tcPr marL="4547" marR="4547" marT="45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SK(DB)</a:t>
                      </a:r>
                    </a:p>
                  </a:txBody>
                  <a:tcPr marL="4547" marR="4547" marT="45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SK is within ± 0.28</a:t>
                      </a:r>
                    </a:p>
                  </a:txBody>
                  <a:tcPr marL="4547" marR="4547" marT="45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SK is within ± 0.55</a:t>
                      </a:r>
                    </a:p>
                  </a:txBody>
                  <a:tcPr marL="4547" marR="4547" marT="45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6826182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-NOV-202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HL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11TSLJ06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LOSSUS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4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9146266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-MAR-202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TSLJ16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Olympia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6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5915760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-DEC-202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12TSLJ139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ko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9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2703888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-NOV-202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HL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11TSLJ05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QUILA OCEAN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2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9165084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-JAN-2024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1TSLJ122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GL FIRST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472933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-MAY-202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5TSLJ12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MPIONSHIP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9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6609327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-MAY-202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5TSLJ17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MPIONSHIP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4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4062001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-MAY-202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5TSLJ1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MPIONSHIP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5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5508875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-DEC-202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12TSLJ01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untu Harmony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5185074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-MAY-202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5TSLJ06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MPIONSHIP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71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134675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-NOV-202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11TSLJ29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untu Harmony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5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6670375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-MAR-202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TSLJ25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O MAY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34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8850925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-MAR-2024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HL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TSLJ1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9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5378612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-MAR-2024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HL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TSLJ2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CEOUS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1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650724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-JAN-2024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1TSLJ112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GL FIRST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7914628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-MAR-202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TSLJ15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K GENERATION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2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4858133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-APR-2024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4TSLJ07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YAL ARGO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7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2754104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-MAR-2024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TSLJ135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CEOUS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1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0881402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-MAR-2024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HL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TSLJ2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1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0049514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-APR-2024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4TSLJ19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YAL ARGO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8648389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-DEC-202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12TSLJ140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ko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6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8908356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-MAR-202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TSLJ26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O MAY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9508143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-MAR-202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HL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TSLJ11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K GENERATION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7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1869585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-MAR-2024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HL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TSLJ19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YAL ARGO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2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9264401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-DEC-202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HL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12TSLJ05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untu Harmony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322245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-NOV-202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HL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11TSLJ27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QUILA OCEAN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1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5170177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-MAY-202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LJ105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ISSE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7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4036780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-APR-2024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4TSLJ02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YAL ARGO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1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8559543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47" marR="4547" marT="4547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47" marR="4547" marT="4547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47" marR="4547" marT="4547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47" marR="4547" marT="4547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47" marR="4547" marT="4547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47" marR="4547" marT="4547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47" marR="4547" marT="4547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kes(Within tolerance limit)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891067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Rakes(Outside tolerance limit)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8809796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Total Rakes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749417"/>
                  </a:ext>
                </a:extLst>
              </a:tr>
              <a:tr h="165789"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%Rakes(Outside tolerance limit)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25.00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10.71</a:t>
                      </a:r>
                    </a:p>
                  </a:txBody>
                  <a:tcPr marL="4547" marR="4547" marT="45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2714104"/>
                  </a:ext>
                </a:extLst>
              </a:tr>
            </a:tbl>
          </a:graphicData>
        </a:graphic>
      </p:graphicFrame>
      <p:sp>
        <p:nvSpPr>
          <p:cNvPr id="3" name="Action Button: Go Home 2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F42B2EC6-3FAD-B327-C4F0-CD6EF4087ECF}"/>
              </a:ext>
            </a:extLst>
          </p:cNvPr>
          <p:cNvSpPr/>
          <p:nvPr/>
        </p:nvSpPr>
        <p:spPr>
          <a:xfrm>
            <a:off x="11811000" y="203200"/>
            <a:ext cx="314960" cy="365760"/>
          </a:xfrm>
          <a:prstGeom prst="actionButtonHom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22701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4EDE4E56-F97C-7518-AD11-5B3592A9B860}"/>
              </a:ext>
            </a:extLst>
          </p:cNvPr>
          <p:cNvSpPr txBox="1"/>
          <p:nvPr/>
        </p:nvSpPr>
        <p:spPr>
          <a:xfrm>
            <a:off x="223520" y="203200"/>
            <a:ext cx="118867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llinbah PCI Coal Ash % reported at TSM- Comparison of deviation with old vs proposed set point</a:t>
            </a: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9BE0C0BF-29FB-130C-5918-0B79415490C2}"/>
              </a:ext>
            </a:extLst>
          </p:cNvPr>
          <p:cNvGraphicFramePr>
            <a:graphicFrameLocks noGrp="1"/>
          </p:cNvGraphicFramePr>
          <p:nvPr/>
        </p:nvGraphicFramePr>
        <p:xfrm>
          <a:off x="350873" y="849530"/>
          <a:ext cx="11552508" cy="5579311"/>
        </p:xfrm>
        <a:graphic>
          <a:graphicData uri="http://schemas.openxmlformats.org/drawingml/2006/table">
            <a:tbl>
              <a:tblPr/>
              <a:tblGrid>
                <a:gridCol w="856357">
                  <a:extLst>
                    <a:ext uri="{9D8B030D-6E8A-4147-A177-3AD203B41FA5}">
                      <a16:colId xmlns:a16="http://schemas.microsoft.com/office/drawing/2014/main" val="927612246"/>
                    </a:ext>
                  </a:extLst>
                </a:gridCol>
                <a:gridCol w="978695">
                  <a:extLst>
                    <a:ext uri="{9D8B030D-6E8A-4147-A177-3AD203B41FA5}">
                      <a16:colId xmlns:a16="http://schemas.microsoft.com/office/drawing/2014/main" val="2923259801"/>
                    </a:ext>
                  </a:extLst>
                </a:gridCol>
                <a:gridCol w="533833">
                  <a:extLst>
                    <a:ext uri="{9D8B030D-6E8A-4147-A177-3AD203B41FA5}">
                      <a16:colId xmlns:a16="http://schemas.microsoft.com/office/drawing/2014/main" val="49026320"/>
                    </a:ext>
                  </a:extLst>
                </a:gridCol>
                <a:gridCol w="934208">
                  <a:extLst>
                    <a:ext uri="{9D8B030D-6E8A-4147-A177-3AD203B41FA5}">
                      <a16:colId xmlns:a16="http://schemas.microsoft.com/office/drawing/2014/main" val="1138315339"/>
                    </a:ext>
                  </a:extLst>
                </a:gridCol>
                <a:gridCol w="1256733">
                  <a:extLst>
                    <a:ext uri="{9D8B030D-6E8A-4147-A177-3AD203B41FA5}">
                      <a16:colId xmlns:a16="http://schemas.microsoft.com/office/drawing/2014/main" val="2876066218"/>
                    </a:ext>
                  </a:extLst>
                </a:gridCol>
                <a:gridCol w="1053784">
                  <a:extLst>
                    <a:ext uri="{9D8B030D-6E8A-4147-A177-3AD203B41FA5}">
                      <a16:colId xmlns:a16="http://schemas.microsoft.com/office/drawing/2014/main" val="1355610393"/>
                    </a:ext>
                  </a:extLst>
                </a:gridCol>
                <a:gridCol w="978695">
                  <a:extLst>
                    <a:ext uri="{9D8B030D-6E8A-4147-A177-3AD203B41FA5}">
                      <a16:colId xmlns:a16="http://schemas.microsoft.com/office/drawing/2014/main" val="4046051920"/>
                    </a:ext>
                  </a:extLst>
                </a:gridCol>
                <a:gridCol w="1712716">
                  <a:extLst>
                    <a:ext uri="{9D8B030D-6E8A-4147-A177-3AD203B41FA5}">
                      <a16:colId xmlns:a16="http://schemas.microsoft.com/office/drawing/2014/main" val="2712583558"/>
                    </a:ext>
                  </a:extLst>
                </a:gridCol>
                <a:gridCol w="1523650">
                  <a:extLst>
                    <a:ext uri="{9D8B030D-6E8A-4147-A177-3AD203B41FA5}">
                      <a16:colId xmlns:a16="http://schemas.microsoft.com/office/drawing/2014/main" val="2093514467"/>
                    </a:ext>
                  </a:extLst>
                </a:gridCol>
                <a:gridCol w="1723837">
                  <a:extLst>
                    <a:ext uri="{9D8B030D-6E8A-4147-A177-3AD203B41FA5}">
                      <a16:colId xmlns:a16="http://schemas.microsoft.com/office/drawing/2014/main" val="2374550144"/>
                    </a:ext>
                  </a:extLst>
                </a:gridCol>
              </a:tblGrid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NTH</a:t>
                      </a:r>
                    </a:p>
                  </a:txBody>
                  <a:tcPr marL="4287" marR="4287" marT="4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agon Type</a:t>
                      </a:r>
                    </a:p>
                  </a:txBody>
                  <a:tcPr marL="4287" marR="4287" marT="4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ORT</a:t>
                      </a:r>
                    </a:p>
                  </a:txBody>
                  <a:tcPr marL="4287" marR="4287" marT="4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AKE</a:t>
                      </a:r>
                    </a:p>
                  </a:txBody>
                  <a:tcPr marL="4287" marR="4287" marT="4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VESSEL</a:t>
                      </a:r>
                    </a:p>
                  </a:txBody>
                  <a:tcPr marL="4287" marR="4287" marT="4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NTRACTED</a:t>
                      </a:r>
                    </a:p>
                  </a:txBody>
                  <a:tcPr marL="4287" marR="4287" marT="4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LP(ADB)</a:t>
                      </a:r>
                    </a:p>
                  </a:txBody>
                  <a:tcPr marL="4287" marR="4287" marT="4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SM (DB)</a:t>
                      </a:r>
                    </a:p>
                  </a:txBody>
                  <a:tcPr marL="4287" marR="4287" marT="4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SM is within ± 0.28</a:t>
                      </a:r>
                    </a:p>
                  </a:txBody>
                  <a:tcPr marL="4287" marR="4287" marT="4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SM is within ±</a:t>
                      </a:r>
                      <a:r>
                        <a:rPr lang="en-IN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0.55</a:t>
                      </a:r>
                      <a:endParaRPr lang="en-IN" sz="14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7" marR="4287" marT="4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6900999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-NOV-2023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HL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11MBMB04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LOSSUS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7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4860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DEC-2023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12MBMB161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ko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1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551491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-FEB-2024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2MBMB180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FIC SARAH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7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9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7115578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-FEB-2024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2MBMB185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FIC SARAH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7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7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0162353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-FEB-2024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2MBMB193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898999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-FEB-2024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2MBMB140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FIC SARAH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7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6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1194762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-FEB-2024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2MBMB184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FIC SARAH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7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7077728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-AUG-2023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8MBMB127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LAGIA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63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7058310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-MAR-2023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MBMB06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K GENERATIO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29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2207332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-MAR-2024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MBMB101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1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0792438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MAR-2024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MBMB159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3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6565386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-MAR-2023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S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MBMB11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K GENERATIO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2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2256400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MAR-2024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MBMB156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7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9897952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-FEB-2024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2MBMB137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FIC SARAH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7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2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6232652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-DEC-2023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12MBMB169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ko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6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1377794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-MAY-2023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BMB125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ISSE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7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7713544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-MAR-2023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HL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MBMB09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K GENERATIO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81611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-APR-2024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4MBMB12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CEOUS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909738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-MAR-2024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MBMB194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CEOUS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7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1460779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-AUG-2023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8MBMB137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LAGIA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7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65958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-MAY-2023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BMB175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ISSE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666217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-DEC-2023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12MBMB171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ko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3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702410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-MAR-2024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MBMB162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1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0629664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-MAR-2024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MBMB191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CEOUS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8483801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-DEC-2023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12MBMB156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ko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7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551966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-APR-2024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HL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4MBMB02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YAL ARGO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9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2176666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-MAR-2024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MBMB201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CEOUS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4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396334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-DEC-2023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HL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12MBMB02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untu Harmony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7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6692028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-MAY-2023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BMB116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ISSE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5657914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NOV-2023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11MBMB07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untu Harmony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23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1771591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-FEB-2024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2MBMB197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4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6496873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-MAR-2024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MBMB16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3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570390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-MAY-2023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BMB107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ISSE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7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5452111"/>
                  </a:ext>
                </a:extLst>
              </a:tr>
              <a:tr h="1576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-APR-2024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4MBMB181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FELI.GR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8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287" marR="4287" marT="42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3101385"/>
                  </a:ext>
                </a:extLst>
              </a:tr>
            </a:tbl>
          </a:graphicData>
        </a:graphic>
      </p:graphicFrame>
      <p:sp>
        <p:nvSpPr>
          <p:cNvPr id="3" name="Action Button: Go Home 2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86C50614-BA49-4C7F-0834-7FBAB3D92D81}"/>
              </a:ext>
            </a:extLst>
          </p:cNvPr>
          <p:cNvSpPr/>
          <p:nvPr/>
        </p:nvSpPr>
        <p:spPr>
          <a:xfrm>
            <a:off x="11811000" y="203200"/>
            <a:ext cx="314960" cy="365760"/>
          </a:xfrm>
          <a:prstGeom prst="actionButtonHom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069596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4EDE4E56-F97C-7518-AD11-5B3592A9B860}"/>
              </a:ext>
            </a:extLst>
          </p:cNvPr>
          <p:cNvSpPr txBox="1"/>
          <p:nvPr/>
        </p:nvSpPr>
        <p:spPr>
          <a:xfrm>
            <a:off x="223520" y="203200"/>
            <a:ext cx="118867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llinbah PCI Coal Ash % reported at TSM- Comparison of deviation with old vs proposed set point</a:t>
            </a: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6D6E397F-F5DF-9C87-883C-689BA04E6838}"/>
              </a:ext>
            </a:extLst>
          </p:cNvPr>
          <p:cNvGraphicFramePr>
            <a:graphicFrameLocks noGrp="1"/>
          </p:cNvGraphicFramePr>
          <p:nvPr/>
        </p:nvGraphicFramePr>
        <p:xfrm>
          <a:off x="223520" y="978195"/>
          <a:ext cx="11376095" cy="5275090"/>
        </p:xfrm>
        <a:graphic>
          <a:graphicData uri="http://schemas.openxmlformats.org/drawingml/2006/table">
            <a:tbl>
              <a:tblPr/>
              <a:tblGrid>
                <a:gridCol w="838582">
                  <a:extLst>
                    <a:ext uri="{9D8B030D-6E8A-4147-A177-3AD203B41FA5}">
                      <a16:colId xmlns:a16="http://schemas.microsoft.com/office/drawing/2014/main" val="3806575106"/>
                    </a:ext>
                  </a:extLst>
                </a:gridCol>
                <a:gridCol w="958380">
                  <a:extLst>
                    <a:ext uri="{9D8B030D-6E8A-4147-A177-3AD203B41FA5}">
                      <a16:colId xmlns:a16="http://schemas.microsoft.com/office/drawing/2014/main" val="3259643432"/>
                    </a:ext>
                  </a:extLst>
                </a:gridCol>
                <a:gridCol w="522752">
                  <a:extLst>
                    <a:ext uri="{9D8B030D-6E8A-4147-A177-3AD203B41FA5}">
                      <a16:colId xmlns:a16="http://schemas.microsoft.com/office/drawing/2014/main" val="1477604162"/>
                    </a:ext>
                  </a:extLst>
                </a:gridCol>
                <a:gridCol w="914818">
                  <a:extLst>
                    <a:ext uri="{9D8B030D-6E8A-4147-A177-3AD203B41FA5}">
                      <a16:colId xmlns:a16="http://schemas.microsoft.com/office/drawing/2014/main" val="662588676"/>
                    </a:ext>
                  </a:extLst>
                </a:gridCol>
                <a:gridCol w="1230648">
                  <a:extLst>
                    <a:ext uri="{9D8B030D-6E8A-4147-A177-3AD203B41FA5}">
                      <a16:colId xmlns:a16="http://schemas.microsoft.com/office/drawing/2014/main" val="1821305959"/>
                    </a:ext>
                  </a:extLst>
                </a:gridCol>
                <a:gridCol w="1055500">
                  <a:extLst>
                    <a:ext uri="{9D8B030D-6E8A-4147-A177-3AD203B41FA5}">
                      <a16:colId xmlns:a16="http://schemas.microsoft.com/office/drawing/2014/main" val="495926131"/>
                    </a:ext>
                  </a:extLst>
                </a:gridCol>
                <a:gridCol w="958380">
                  <a:extLst>
                    <a:ext uri="{9D8B030D-6E8A-4147-A177-3AD203B41FA5}">
                      <a16:colId xmlns:a16="http://schemas.microsoft.com/office/drawing/2014/main" val="2481018791"/>
                    </a:ext>
                  </a:extLst>
                </a:gridCol>
                <a:gridCol w="1677165">
                  <a:extLst>
                    <a:ext uri="{9D8B030D-6E8A-4147-A177-3AD203B41FA5}">
                      <a16:colId xmlns:a16="http://schemas.microsoft.com/office/drawing/2014/main" val="1456058443"/>
                    </a:ext>
                  </a:extLst>
                </a:gridCol>
                <a:gridCol w="1531814">
                  <a:extLst>
                    <a:ext uri="{9D8B030D-6E8A-4147-A177-3AD203B41FA5}">
                      <a16:colId xmlns:a16="http://schemas.microsoft.com/office/drawing/2014/main" val="3835132433"/>
                    </a:ext>
                  </a:extLst>
                </a:gridCol>
                <a:gridCol w="1688056">
                  <a:extLst>
                    <a:ext uri="{9D8B030D-6E8A-4147-A177-3AD203B41FA5}">
                      <a16:colId xmlns:a16="http://schemas.microsoft.com/office/drawing/2014/main" val="2548954797"/>
                    </a:ext>
                  </a:extLst>
                </a:gridCol>
              </a:tblGrid>
              <a:tr h="18256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NTH</a:t>
                      </a:r>
                    </a:p>
                  </a:txBody>
                  <a:tcPr marL="5145" marR="5145" marT="51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agon Type</a:t>
                      </a:r>
                    </a:p>
                  </a:txBody>
                  <a:tcPr marL="5145" marR="5145" marT="51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ORT</a:t>
                      </a:r>
                    </a:p>
                  </a:txBody>
                  <a:tcPr marL="5145" marR="5145" marT="51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AKE</a:t>
                      </a:r>
                    </a:p>
                  </a:txBody>
                  <a:tcPr marL="5145" marR="5145" marT="51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VESSEL</a:t>
                      </a:r>
                    </a:p>
                  </a:txBody>
                  <a:tcPr marL="5145" marR="5145" marT="51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NTRACTED</a:t>
                      </a:r>
                    </a:p>
                  </a:txBody>
                  <a:tcPr marL="5145" marR="5145" marT="51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LP(ADB)</a:t>
                      </a:r>
                    </a:p>
                  </a:txBody>
                  <a:tcPr marL="5145" marR="5145" marT="51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SM (DB)</a:t>
                      </a:r>
                    </a:p>
                  </a:txBody>
                  <a:tcPr marL="5145" marR="5145" marT="51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SM is within ± 0.28</a:t>
                      </a:r>
                    </a:p>
                  </a:txBody>
                  <a:tcPr marL="5145" marR="5145" marT="51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SM is within ±</a:t>
                      </a:r>
                      <a:r>
                        <a:rPr lang="en-IN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0.55</a:t>
                      </a:r>
                      <a:endParaRPr lang="en-IN" sz="14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5" marR="5145" marT="51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3788722"/>
                  </a:ext>
                </a:extLst>
              </a:tr>
              <a:tr h="18256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-APR-2024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4MBMB17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FELI.GR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3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1306249"/>
                  </a:ext>
                </a:extLst>
              </a:tr>
              <a:tr h="18256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-MAR-2024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MBMB205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CEOUS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3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3775817"/>
                  </a:ext>
                </a:extLst>
              </a:tr>
              <a:tr h="18256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-APR-2024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4MBMB0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YAL ARGO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7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6067980"/>
                  </a:ext>
                </a:extLst>
              </a:tr>
              <a:tr h="18256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-MAY-2023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BMB122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ISSE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9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5718395"/>
                  </a:ext>
                </a:extLst>
              </a:tr>
              <a:tr h="18256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-NOV-2023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11MBMB11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untu Harmony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9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9960334"/>
                  </a:ext>
                </a:extLst>
              </a:tr>
              <a:tr h="18256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DEC-2023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12MBMB160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ko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7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1441064"/>
                  </a:ext>
                </a:extLst>
              </a:tr>
              <a:tr h="18256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-DEC-2023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12MBMB175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ko</a:t>
                      </a:r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25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979552"/>
                  </a:ext>
                </a:extLst>
              </a:tr>
              <a:tr h="18256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-MAR-2024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MBMB1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YAL ARGO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6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1484334"/>
                  </a:ext>
                </a:extLst>
              </a:tr>
              <a:tr h="18256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-APR-2024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4MBMB177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FELI.GR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22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1913687"/>
                  </a:ext>
                </a:extLst>
              </a:tr>
              <a:tr h="18256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-DEC-2023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12MBMB177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ko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6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3420121"/>
                  </a:ext>
                </a:extLst>
              </a:tr>
              <a:tr h="18256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-MAR-2023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MBMB07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K GENERATION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7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3720608"/>
                  </a:ext>
                </a:extLst>
              </a:tr>
              <a:tr h="18256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-AUG-2023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8MBMB136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LAGIA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5110533"/>
                  </a:ext>
                </a:extLst>
              </a:tr>
              <a:tr h="18256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-FEB-2024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2MBMB135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FIC SARAH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7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7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078054"/>
                  </a:ext>
                </a:extLst>
              </a:tr>
              <a:tr h="18256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-DEC-2023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HL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12MBMB05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untu Harmony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3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779420"/>
                  </a:ext>
                </a:extLst>
              </a:tr>
              <a:tr h="18256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-MAY-2023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BMB110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ISSE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7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6733342"/>
                  </a:ext>
                </a:extLst>
              </a:tr>
              <a:tr h="18256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-APR-2024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4MBMB183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FELI.GR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334000"/>
                  </a:ext>
                </a:extLst>
              </a:tr>
              <a:tr h="18256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-MAY-2023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BMB133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ISSE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6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853449"/>
                  </a:ext>
                </a:extLst>
              </a:tr>
              <a:tr h="18256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-MAR-2024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MBMB103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1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9857978"/>
                  </a:ext>
                </a:extLst>
              </a:tr>
              <a:tr h="18256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-MAR-2024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MBMB164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6567288"/>
                  </a:ext>
                </a:extLst>
              </a:tr>
              <a:tr h="18256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-MAR-2024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MBMB174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2934856"/>
                  </a:ext>
                </a:extLst>
              </a:tr>
              <a:tr h="18256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-MAY-2023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BMB127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ISSE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9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432143"/>
                  </a:ext>
                </a:extLst>
              </a:tr>
              <a:tr h="18256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DEC-2023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12MBMB15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ko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6574462"/>
                  </a:ext>
                </a:extLst>
              </a:tr>
              <a:tr h="18256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-DEC-2023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12MBMB165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ko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6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279371"/>
                  </a:ext>
                </a:extLst>
              </a:tr>
              <a:tr h="18256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kes(Within tolerance limit)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654197"/>
                  </a:ext>
                </a:extLst>
              </a:tr>
              <a:tr h="182565"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Rakes(Outside tolerance limit)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8363"/>
                  </a:ext>
                </a:extLst>
              </a:tr>
              <a:tr h="182565"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Total Rakes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5147837"/>
                  </a:ext>
                </a:extLst>
              </a:tr>
              <a:tr h="182565"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5" marR="5145" marT="514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%Rakes(Outside tolerance limit)</a:t>
                      </a:r>
                    </a:p>
                  </a:txBody>
                  <a:tcPr marL="5095" marR="5095" marT="50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85.96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49.12</a:t>
                      </a:r>
                    </a:p>
                  </a:txBody>
                  <a:tcPr marL="5145" marR="5145" marT="514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4365241"/>
                  </a:ext>
                </a:extLst>
              </a:tr>
            </a:tbl>
          </a:graphicData>
        </a:graphic>
      </p:graphicFrame>
      <p:sp>
        <p:nvSpPr>
          <p:cNvPr id="4" name="Action Button: Go Home 3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08A3AB56-96BC-8BB6-7F43-7B12175CD0F5}"/>
              </a:ext>
            </a:extLst>
          </p:cNvPr>
          <p:cNvSpPr/>
          <p:nvPr/>
        </p:nvSpPr>
        <p:spPr>
          <a:xfrm>
            <a:off x="11811000" y="203200"/>
            <a:ext cx="314960" cy="365760"/>
          </a:xfrm>
          <a:prstGeom prst="actionButtonHom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77973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EB4EAB93-6B03-BB07-2739-5A34AF8769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538" y="713679"/>
            <a:ext cx="5544060" cy="4496054"/>
          </a:xfrm>
          <a:prstGeom prst="rect">
            <a:avLst/>
          </a:prstGeom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A0BDE04-94F3-EA18-F5D6-EB8FD67D7C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19800" y="713679"/>
            <a:ext cx="5334860" cy="449605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22B3C2A-019B-A40A-7547-05D03D912B2B}"/>
              </a:ext>
            </a:extLst>
          </p:cNvPr>
          <p:cNvSpPr txBox="1"/>
          <p:nvPr/>
        </p:nvSpPr>
        <p:spPr>
          <a:xfrm>
            <a:off x="223520" y="203200"/>
            <a:ext cx="115925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iation of Ash% reported at different nodes vs Load Port</a:t>
            </a:r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		           April’23- March’24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92D3974-9C17-FDBA-0C82-0E6A4F0AA73B}"/>
              </a:ext>
            </a:extLst>
          </p:cNvPr>
          <p:cNvSpPr txBox="1"/>
          <p:nvPr/>
        </p:nvSpPr>
        <p:spPr>
          <a:xfrm>
            <a:off x="223520" y="5313325"/>
            <a:ext cx="1142534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As we move from Load Port to plant the variation in the reported value of Ash% increases – This reflects the capability of measurement system owing to factors such as </a:t>
            </a:r>
            <a:r>
              <a:rPr lang="en-IN" sz="1600" b="1">
                <a:latin typeface="Arial" panose="020B0604020202020204" pitchFamily="34" charset="0"/>
                <a:cs typeface="Arial" panose="020B0604020202020204" pitchFamily="34" charset="0"/>
              </a:rPr>
              <a:t>natural variation because of heterogeneity of coal</a:t>
            </a:r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N" sz="1600" b="1">
                <a:latin typeface="Arial" panose="020B0604020202020204" pitchFamily="34" charset="0"/>
                <a:cs typeface="Arial" panose="020B0604020202020204" pitchFamily="34" charset="0"/>
              </a:rPr>
              <a:t>Vessel level vs rake level analysis</a:t>
            </a:r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N" sz="1600" b="1">
                <a:latin typeface="Arial" panose="020B0604020202020204" pitchFamily="34" charset="0"/>
                <a:cs typeface="Arial" panose="020B0604020202020204" pitchFamily="34" charset="0"/>
              </a:rPr>
              <a:t>measurement methods</a:t>
            </a:r>
            <a:endParaRPr lang="en-IN" sz="16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Reported values are generally on lower side at TSJ and on higher side at TSK.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E8B1B06-331E-6CA7-1F33-AA05F08D878F}"/>
              </a:ext>
            </a:extLst>
          </p:cNvPr>
          <p:cNvSpPr txBox="1"/>
          <p:nvPr/>
        </p:nvSpPr>
        <p:spPr>
          <a:xfrm>
            <a:off x="223520" y="6531714"/>
            <a:ext cx="100472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LP: Load Port | DP: Discharge Port | POR – Port Outgoing Rake | PIR – Plant Incoming Rak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40366AD-3AD8-A876-C463-080CE8D09D57}"/>
              </a:ext>
            </a:extLst>
          </p:cNvPr>
          <p:cNvCxnSpPr/>
          <p:nvPr/>
        </p:nvCxnSpPr>
        <p:spPr>
          <a:xfrm flipV="1">
            <a:off x="1248937" y="2364059"/>
            <a:ext cx="4025590" cy="379141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7995D9A-B587-B056-4F5F-185FC14CC39A}"/>
              </a:ext>
            </a:extLst>
          </p:cNvPr>
          <p:cNvCxnSpPr/>
          <p:nvPr/>
        </p:nvCxnSpPr>
        <p:spPr>
          <a:xfrm>
            <a:off x="1248937" y="3429000"/>
            <a:ext cx="3914078" cy="183995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176246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4D7AE37-5AF4-3C48-E2C2-1BC5D8E05EFB}"/>
              </a:ext>
            </a:extLst>
          </p:cNvPr>
          <p:cNvSpPr txBox="1"/>
          <p:nvPr/>
        </p:nvSpPr>
        <p:spPr>
          <a:xfrm>
            <a:off x="223520" y="203200"/>
            <a:ext cx="118867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llinbah PCI Coal Ash % reported at TSJ- Comparison of deviation w.r.t method of reporting</a:t>
            </a: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</a:p>
        </p:txBody>
      </p:sp>
      <p:sp>
        <p:nvSpPr>
          <p:cNvPr id="4" name="Action Button: Go Home 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04815808-D01F-935D-0012-3E73B43FA155}"/>
              </a:ext>
            </a:extLst>
          </p:cNvPr>
          <p:cNvSpPr/>
          <p:nvPr/>
        </p:nvSpPr>
        <p:spPr>
          <a:xfrm>
            <a:off x="11811000" y="203200"/>
            <a:ext cx="314960" cy="365760"/>
          </a:xfrm>
          <a:prstGeom prst="actionButtonHom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0AB86CB8-832E-5C19-E424-3F5789C9C8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4082405"/>
              </p:ext>
            </p:extLst>
          </p:nvPr>
        </p:nvGraphicFramePr>
        <p:xfrm>
          <a:off x="223520" y="802104"/>
          <a:ext cx="11587480" cy="4860751"/>
        </p:xfrm>
        <a:graphic>
          <a:graphicData uri="http://schemas.openxmlformats.org/drawingml/2006/table">
            <a:tbl>
              <a:tblPr/>
              <a:tblGrid>
                <a:gridCol w="835695">
                  <a:extLst>
                    <a:ext uri="{9D8B030D-6E8A-4147-A177-3AD203B41FA5}">
                      <a16:colId xmlns:a16="http://schemas.microsoft.com/office/drawing/2014/main" val="367434875"/>
                    </a:ext>
                  </a:extLst>
                </a:gridCol>
                <a:gridCol w="598707">
                  <a:extLst>
                    <a:ext uri="{9D8B030D-6E8A-4147-A177-3AD203B41FA5}">
                      <a16:colId xmlns:a16="http://schemas.microsoft.com/office/drawing/2014/main" val="1704622122"/>
                    </a:ext>
                  </a:extLst>
                </a:gridCol>
                <a:gridCol w="785803">
                  <a:extLst>
                    <a:ext uri="{9D8B030D-6E8A-4147-A177-3AD203B41FA5}">
                      <a16:colId xmlns:a16="http://schemas.microsoft.com/office/drawing/2014/main" val="1180464870"/>
                    </a:ext>
                  </a:extLst>
                </a:gridCol>
                <a:gridCol w="2270099">
                  <a:extLst>
                    <a:ext uri="{9D8B030D-6E8A-4147-A177-3AD203B41FA5}">
                      <a16:colId xmlns:a16="http://schemas.microsoft.com/office/drawing/2014/main" val="3721307401"/>
                    </a:ext>
                  </a:extLst>
                </a:gridCol>
                <a:gridCol w="773331">
                  <a:extLst>
                    <a:ext uri="{9D8B030D-6E8A-4147-A177-3AD203B41FA5}">
                      <a16:colId xmlns:a16="http://schemas.microsoft.com/office/drawing/2014/main" val="3086721628"/>
                    </a:ext>
                  </a:extLst>
                </a:gridCol>
                <a:gridCol w="773331">
                  <a:extLst>
                    <a:ext uri="{9D8B030D-6E8A-4147-A177-3AD203B41FA5}">
                      <a16:colId xmlns:a16="http://schemas.microsoft.com/office/drawing/2014/main" val="3236973393"/>
                    </a:ext>
                  </a:extLst>
                </a:gridCol>
                <a:gridCol w="1920852">
                  <a:extLst>
                    <a:ext uri="{9D8B030D-6E8A-4147-A177-3AD203B41FA5}">
                      <a16:colId xmlns:a16="http://schemas.microsoft.com/office/drawing/2014/main" val="3008527441"/>
                    </a:ext>
                  </a:extLst>
                </a:gridCol>
                <a:gridCol w="1858487">
                  <a:extLst>
                    <a:ext uri="{9D8B030D-6E8A-4147-A177-3AD203B41FA5}">
                      <a16:colId xmlns:a16="http://schemas.microsoft.com/office/drawing/2014/main" val="1919690531"/>
                    </a:ext>
                  </a:extLst>
                </a:gridCol>
                <a:gridCol w="1771175">
                  <a:extLst>
                    <a:ext uri="{9D8B030D-6E8A-4147-A177-3AD203B41FA5}">
                      <a16:colId xmlns:a16="http://schemas.microsoft.com/office/drawing/2014/main" val="957269418"/>
                    </a:ext>
                  </a:extLst>
                </a:gridCol>
              </a:tblGrid>
              <a:tr h="21133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NTH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ORT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AKE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VESSEL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LP(ADB)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LP(DB)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SJ(DB)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SJ is within +-0.28(ADB-DB)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SJ is within +-0.28(DB-DB)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651292"/>
                  </a:ext>
                </a:extLst>
              </a:tr>
              <a:tr h="21133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-FEB-2024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2TWS120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KIZAYA FUTURE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8393259"/>
                  </a:ext>
                </a:extLst>
              </a:tr>
              <a:tr h="21133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-MAR-2023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TWS65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K GENERATION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96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8696244"/>
                  </a:ext>
                </a:extLst>
              </a:tr>
              <a:tr h="21133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-JAN-2024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D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01NHT31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GL FIRST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1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1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8218626"/>
                  </a:ext>
                </a:extLst>
              </a:tr>
              <a:tr h="21133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-MAR-2024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TWS19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CEOUS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1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1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7855627"/>
                  </a:ext>
                </a:extLst>
              </a:tr>
              <a:tr h="21133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-FEB-2024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2TWS108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KIZAYA FUTURE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3027647"/>
                  </a:ext>
                </a:extLst>
              </a:tr>
              <a:tr h="21133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-FEB-2024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2TWS13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1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4119774"/>
                  </a:ext>
                </a:extLst>
              </a:tr>
              <a:tr h="21133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-FEB-2024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2TWS91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KIZAYA FUTURE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1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861765"/>
                  </a:ext>
                </a:extLst>
              </a:tr>
              <a:tr h="21133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-MAR-2024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TWS24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CEOUS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1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9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4127004"/>
                  </a:ext>
                </a:extLst>
              </a:tr>
              <a:tr h="21133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-FEB-2024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2TWS97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KIZAYA FUTURE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3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7720043"/>
                  </a:ext>
                </a:extLst>
              </a:tr>
              <a:tr h="21133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-MAR-2024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TWS74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YAL ARGO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1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9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3894190"/>
                  </a:ext>
                </a:extLst>
              </a:tr>
              <a:tr h="21133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-AUG-2023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D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08NHT59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LAGIA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0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9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7577956"/>
                  </a:ext>
                </a:extLst>
              </a:tr>
              <a:tr h="21133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-MAR-2024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TWS10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1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7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1008736"/>
                  </a:ext>
                </a:extLst>
              </a:tr>
              <a:tr h="21133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-FEB-2024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2TWS112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KIZAYA FUTURE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0673241"/>
                  </a:ext>
                </a:extLst>
              </a:tr>
              <a:tr h="21133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-FEB-2024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2TWS104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KIZAYA FUTURE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233011"/>
                  </a:ext>
                </a:extLst>
              </a:tr>
              <a:tr h="21133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-MAR-2024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TWS22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CEOUS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1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68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4022870"/>
                  </a:ext>
                </a:extLst>
              </a:tr>
              <a:tr h="21133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-FEB-2024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2TWS116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KIZAYA FUTURE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943785"/>
                  </a:ext>
                </a:extLst>
              </a:tr>
              <a:tr h="21133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-MAR-2024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TWS65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YAL ARGO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1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8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9085128"/>
                  </a:ext>
                </a:extLst>
              </a:tr>
              <a:tr h="21133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-APR-2023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4TWS12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O MAY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0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8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4921832"/>
                  </a:ext>
                </a:extLst>
              </a:tr>
              <a:tr h="211337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kes(Within tolerance limit)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4604040"/>
                  </a:ext>
                </a:extLst>
              </a:tr>
              <a:tr h="211337"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60" marR="5660" marT="566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60" marR="5660" marT="566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60" marR="5660" marT="566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60" marR="5660" marT="566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60" marR="5660" marT="566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60" marR="5660" marT="566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>
                          <a:effectLst/>
                          <a:latin typeface="Calibri" panose="020F0502020204030204" pitchFamily="34" charset="0"/>
                        </a:rPr>
                        <a:t>Rakes(Outside tolerance limit)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4713557"/>
                  </a:ext>
                </a:extLst>
              </a:tr>
              <a:tr h="211337"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60" marR="5660" marT="56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60" marR="5660" marT="56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60" marR="5660" marT="56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60" marR="5660" marT="56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60" marR="5660" marT="56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60" marR="5660" marT="566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>
                          <a:effectLst/>
                          <a:latin typeface="Calibri" panose="020F0502020204030204" pitchFamily="34" charset="0"/>
                        </a:rPr>
                        <a:t>Total Rakes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3462558"/>
                  </a:ext>
                </a:extLst>
              </a:tr>
              <a:tr h="211337"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60" marR="5660" marT="56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60" marR="5660" marT="56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60" marR="5660" marT="56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60" marR="5660" marT="56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60" marR="5660" marT="56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60" marR="5660" marT="566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>
                          <a:effectLst/>
                          <a:latin typeface="Calibri" panose="020F0502020204030204" pitchFamily="34" charset="0"/>
                        </a:rPr>
                        <a:t>%Rakes(Outside tolerance limit)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effectLst/>
                          <a:latin typeface="Calibri" panose="020F0502020204030204" pitchFamily="34" charset="0"/>
                        </a:rPr>
                        <a:t>44.44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effectLst/>
                          <a:latin typeface="Calibri" panose="020F0502020204030204" pitchFamily="34" charset="0"/>
                        </a:rPr>
                        <a:t>66.67</a:t>
                      </a:r>
                    </a:p>
                  </a:txBody>
                  <a:tcPr marL="5660" marR="5660" marT="566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1147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989253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8814568E-46C6-BFC6-8CD8-A42923D6AC79}"/>
              </a:ext>
            </a:extLst>
          </p:cNvPr>
          <p:cNvSpPr txBox="1"/>
          <p:nvPr/>
        </p:nvSpPr>
        <p:spPr>
          <a:xfrm>
            <a:off x="223520" y="203200"/>
            <a:ext cx="118867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llinbah PCI Coal Ash % reported at TSK- Comparison of deviation w.r.t method of reporting</a:t>
            </a: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</a:p>
        </p:txBody>
      </p:sp>
      <p:sp>
        <p:nvSpPr>
          <p:cNvPr id="2" name="Action Button: Go Home 1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FC088979-BCB6-564E-F379-A1117B48DBCE}"/>
              </a:ext>
            </a:extLst>
          </p:cNvPr>
          <p:cNvSpPr/>
          <p:nvPr/>
        </p:nvSpPr>
        <p:spPr>
          <a:xfrm>
            <a:off x="11811000" y="203200"/>
            <a:ext cx="314960" cy="365760"/>
          </a:xfrm>
          <a:prstGeom prst="actionButtonHom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A8FA7F0B-8047-FF3E-F358-91E9D0EAE2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7844897"/>
              </p:ext>
            </p:extLst>
          </p:nvPr>
        </p:nvGraphicFramePr>
        <p:xfrm>
          <a:off x="408468" y="701749"/>
          <a:ext cx="11402533" cy="5858556"/>
        </p:xfrm>
        <a:graphic>
          <a:graphicData uri="http://schemas.openxmlformats.org/drawingml/2006/table">
            <a:tbl>
              <a:tblPr/>
              <a:tblGrid>
                <a:gridCol w="932666">
                  <a:extLst>
                    <a:ext uri="{9D8B030D-6E8A-4147-A177-3AD203B41FA5}">
                      <a16:colId xmlns:a16="http://schemas.microsoft.com/office/drawing/2014/main" val="3824180533"/>
                    </a:ext>
                  </a:extLst>
                </a:gridCol>
                <a:gridCol w="895850">
                  <a:extLst>
                    <a:ext uri="{9D8B030D-6E8A-4147-A177-3AD203B41FA5}">
                      <a16:colId xmlns:a16="http://schemas.microsoft.com/office/drawing/2014/main" val="2890969580"/>
                    </a:ext>
                  </a:extLst>
                </a:gridCol>
                <a:gridCol w="589052">
                  <a:extLst>
                    <a:ext uri="{9D8B030D-6E8A-4147-A177-3AD203B41FA5}">
                      <a16:colId xmlns:a16="http://schemas.microsoft.com/office/drawing/2014/main" val="3370740565"/>
                    </a:ext>
                  </a:extLst>
                </a:gridCol>
                <a:gridCol w="871306">
                  <a:extLst>
                    <a:ext uri="{9D8B030D-6E8A-4147-A177-3AD203B41FA5}">
                      <a16:colId xmlns:a16="http://schemas.microsoft.com/office/drawing/2014/main" val="477663934"/>
                    </a:ext>
                  </a:extLst>
                </a:gridCol>
                <a:gridCol w="1144187">
                  <a:extLst>
                    <a:ext uri="{9D8B030D-6E8A-4147-A177-3AD203B41FA5}">
                      <a16:colId xmlns:a16="http://schemas.microsoft.com/office/drawing/2014/main" val="1782020809"/>
                    </a:ext>
                  </a:extLst>
                </a:gridCol>
                <a:gridCol w="589052">
                  <a:extLst>
                    <a:ext uri="{9D8B030D-6E8A-4147-A177-3AD203B41FA5}">
                      <a16:colId xmlns:a16="http://schemas.microsoft.com/office/drawing/2014/main" val="418997913"/>
                    </a:ext>
                  </a:extLst>
                </a:gridCol>
                <a:gridCol w="475494">
                  <a:extLst>
                    <a:ext uri="{9D8B030D-6E8A-4147-A177-3AD203B41FA5}">
                      <a16:colId xmlns:a16="http://schemas.microsoft.com/office/drawing/2014/main" val="906881002"/>
                    </a:ext>
                  </a:extLst>
                </a:gridCol>
                <a:gridCol w="2100633">
                  <a:extLst>
                    <a:ext uri="{9D8B030D-6E8A-4147-A177-3AD203B41FA5}">
                      <a16:colId xmlns:a16="http://schemas.microsoft.com/office/drawing/2014/main" val="1349576011"/>
                    </a:ext>
                  </a:extLst>
                </a:gridCol>
                <a:gridCol w="1951234">
                  <a:extLst>
                    <a:ext uri="{9D8B030D-6E8A-4147-A177-3AD203B41FA5}">
                      <a16:colId xmlns:a16="http://schemas.microsoft.com/office/drawing/2014/main" val="3030455960"/>
                    </a:ext>
                  </a:extLst>
                </a:gridCol>
                <a:gridCol w="1853059">
                  <a:extLst>
                    <a:ext uri="{9D8B030D-6E8A-4147-A177-3AD203B41FA5}">
                      <a16:colId xmlns:a16="http://schemas.microsoft.com/office/drawing/2014/main" val="2828860126"/>
                    </a:ext>
                  </a:extLst>
                </a:gridCol>
              </a:tblGrid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NTH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agon Type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ORT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AKE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VESSEL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LP(ADB)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LP(DB)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SK(DB)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SK is within +-0.28(ADB-DB)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SK is within +-0.28(DB-DB)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0940844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-NOV-202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HL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11TSLJ06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LOSSUS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0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4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4812685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-MAR-202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TSLJ16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Olympia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0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6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2453245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-DEC-202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12TSLJ139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ko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0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9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108133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-NOV-202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HL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11TSLJ05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QUILA OCEAN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0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2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7581925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-JAN-2024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1TSLJ122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GL FIRST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1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2492658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-MAY-202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5TSLJ12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MPIONSHIP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0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9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9660754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-MAY-202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5TSLJ17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MPIONSHIP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0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4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0989758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-MAY-202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5TSLJ18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MPIONSHIP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0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5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2058902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-DEC-202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12TSLJ01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untu Harmony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0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3462136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-MAY-202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5TSLJ06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MPIONSHIP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0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71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9902152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-NOV-202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11TSLJ29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untu Harmony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0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5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6924522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-MAR-202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TSLJ25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O MAY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0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34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9296531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-MAR-2024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HL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TSLJ1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1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9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0338244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-MAR-2024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HL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TSLJ2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CEOUS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1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1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559131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-JAN-2024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1TSLJ112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GL FIRST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1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694947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-MAR-202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TSLJ15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K GENERATION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2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5761046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-APR-2024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4TSLJ07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YAL ARGO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1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7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5644075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-MAR-2024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TSLJ135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CEOUS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1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1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2629211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-MAR-2024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HL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TSLJ2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1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1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4422386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-APR-2024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4TSLJ19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YAL ARGO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1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4209674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-DEC-202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12TSLJ140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ko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0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6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738667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-MAR-202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TSLJ26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O MAY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0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8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6647005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-MAR-202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HL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TSLJ11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K GENERATION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7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6305336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-MAR-2024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HL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TSLJ19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YAL ARGO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1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2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3401997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-DEC-202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HL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12TSLJ05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untu Harmony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0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9570592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-NOV-202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XNHL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11TSLJ27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QUILA OCEAN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0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1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3307870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-MAY-202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LJ105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ISSE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0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7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8270912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-APR-2024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BRN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4TSLJ02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YAL ARGO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1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1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1123666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kes(Within tolerance limit)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0187687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>
                          <a:effectLst/>
                          <a:latin typeface="Calibri" panose="020F0502020204030204" pitchFamily="34" charset="0"/>
                        </a:rPr>
                        <a:t>Rakes(Outside tolerance limit)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8386847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>
                          <a:effectLst/>
                          <a:latin typeface="Calibri" panose="020F0502020204030204" pitchFamily="34" charset="0"/>
                        </a:rPr>
                        <a:t>Total Rakes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9602517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7" marR="4547" marT="4547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>
                          <a:effectLst/>
                          <a:latin typeface="Calibri" panose="020F0502020204030204" pitchFamily="34" charset="0"/>
                        </a:rPr>
                        <a:t>%Rakes(Outside tolerance limit)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effectLst/>
                          <a:latin typeface="Calibri" panose="020F0502020204030204" pitchFamily="34" charset="0"/>
                        </a:rPr>
                        <a:t>25.00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effectLst/>
                          <a:latin typeface="Calibri" panose="020F0502020204030204" pitchFamily="34" charset="0"/>
                        </a:rPr>
                        <a:t>32.14</a:t>
                      </a:r>
                    </a:p>
                  </a:txBody>
                  <a:tcPr marL="4547" marR="4547" marT="454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6872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6380222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D67CED19-56FA-343B-95F5-F443D8099A6C}"/>
              </a:ext>
            </a:extLst>
          </p:cNvPr>
          <p:cNvSpPr txBox="1"/>
          <p:nvPr/>
        </p:nvSpPr>
        <p:spPr>
          <a:xfrm>
            <a:off x="223520" y="203200"/>
            <a:ext cx="118867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llinbah PCI Coal Ash % reported at TSM- Comparison of deviation w.r.t method of reporting</a:t>
            </a: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</a:p>
        </p:txBody>
      </p:sp>
      <p:sp>
        <p:nvSpPr>
          <p:cNvPr id="2" name="Action Button: Go Home 1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B8D35F6E-DC02-7DF1-B862-5A919ED43E06}"/>
              </a:ext>
            </a:extLst>
          </p:cNvPr>
          <p:cNvSpPr/>
          <p:nvPr/>
        </p:nvSpPr>
        <p:spPr>
          <a:xfrm>
            <a:off x="11811000" y="203200"/>
            <a:ext cx="314960" cy="365760"/>
          </a:xfrm>
          <a:prstGeom prst="actionButtonHom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2DF75BD-40E5-3CCD-CF15-7266946FF5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5548411"/>
              </p:ext>
            </p:extLst>
          </p:nvPr>
        </p:nvGraphicFramePr>
        <p:xfrm>
          <a:off x="349101" y="697130"/>
          <a:ext cx="11461898" cy="5779742"/>
        </p:xfrm>
        <a:graphic>
          <a:graphicData uri="http://schemas.openxmlformats.org/drawingml/2006/table">
            <a:tbl>
              <a:tblPr/>
              <a:tblGrid>
                <a:gridCol w="972767">
                  <a:extLst>
                    <a:ext uri="{9D8B030D-6E8A-4147-A177-3AD203B41FA5}">
                      <a16:colId xmlns:a16="http://schemas.microsoft.com/office/drawing/2014/main" val="1346039423"/>
                    </a:ext>
                  </a:extLst>
                </a:gridCol>
                <a:gridCol w="420799">
                  <a:extLst>
                    <a:ext uri="{9D8B030D-6E8A-4147-A177-3AD203B41FA5}">
                      <a16:colId xmlns:a16="http://schemas.microsoft.com/office/drawing/2014/main" val="696508959"/>
                    </a:ext>
                  </a:extLst>
                </a:gridCol>
                <a:gridCol w="1008079">
                  <a:extLst>
                    <a:ext uri="{9D8B030D-6E8A-4147-A177-3AD203B41FA5}">
                      <a16:colId xmlns:a16="http://schemas.microsoft.com/office/drawing/2014/main" val="195524686"/>
                    </a:ext>
                  </a:extLst>
                </a:gridCol>
                <a:gridCol w="1219944">
                  <a:extLst>
                    <a:ext uri="{9D8B030D-6E8A-4147-A177-3AD203B41FA5}">
                      <a16:colId xmlns:a16="http://schemas.microsoft.com/office/drawing/2014/main" val="3636113530"/>
                    </a:ext>
                  </a:extLst>
                </a:gridCol>
                <a:gridCol w="978343">
                  <a:extLst>
                    <a:ext uri="{9D8B030D-6E8A-4147-A177-3AD203B41FA5}">
                      <a16:colId xmlns:a16="http://schemas.microsoft.com/office/drawing/2014/main" val="2810857356"/>
                    </a:ext>
                  </a:extLst>
                </a:gridCol>
                <a:gridCol w="951211">
                  <a:extLst>
                    <a:ext uri="{9D8B030D-6E8A-4147-A177-3AD203B41FA5}">
                      <a16:colId xmlns:a16="http://schemas.microsoft.com/office/drawing/2014/main" val="2893023023"/>
                    </a:ext>
                  </a:extLst>
                </a:gridCol>
                <a:gridCol w="853929">
                  <a:extLst>
                    <a:ext uri="{9D8B030D-6E8A-4147-A177-3AD203B41FA5}">
                      <a16:colId xmlns:a16="http://schemas.microsoft.com/office/drawing/2014/main" val="1213814184"/>
                    </a:ext>
                  </a:extLst>
                </a:gridCol>
                <a:gridCol w="643817">
                  <a:extLst>
                    <a:ext uri="{9D8B030D-6E8A-4147-A177-3AD203B41FA5}">
                      <a16:colId xmlns:a16="http://schemas.microsoft.com/office/drawing/2014/main" val="2867214049"/>
                    </a:ext>
                  </a:extLst>
                </a:gridCol>
                <a:gridCol w="2067411">
                  <a:extLst>
                    <a:ext uri="{9D8B030D-6E8A-4147-A177-3AD203B41FA5}">
                      <a16:colId xmlns:a16="http://schemas.microsoft.com/office/drawing/2014/main" val="3580763617"/>
                    </a:ext>
                  </a:extLst>
                </a:gridCol>
                <a:gridCol w="2345598">
                  <a:extLst>
                    <a:ext uri="{9D8B030D-6E8A-4147-A177-3AD203B41FA5}">
                      <a16:colId xmlns:a16="http://schemas.microsoft.com/office/drawing/2014/main" val="2172429514"/>
                    </a:ext>
                  </a:extLst>
                </a:gridCol>
              </a:tblGrid>
              <a:tr h="16245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NTH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OR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AKE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VESSEL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NTRACTED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LP(ADB)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LP(DB)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SM(DB)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SM is within +-0.28(ADB-DB)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SM is within +-0.28(DB-DB)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8279432"/>
                  </a:ext>
                </a:extLst>
              </a:tr>
              <a:tr h="19584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-NOV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11MBMB0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LOSSUS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1011525"/>
                  </a:ext>
                </a:extLst>
              </a:tr>
              <a:tr h="19584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DEC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12MBMB16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ko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7578"/>
                  </a:ext>
                </a:extLst>
              </a:tr>
              <a:tr h="19584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-FEB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2MBMB18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FIC SARAH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9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27134"/>
                  </a:ext>
                </a:extLst>
              </a:tr>
              <a:tr h="19584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-FEB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2MBMB185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FIC SARAH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4884372"/>
                  </a:ext>
                </a:extLst>
              </a:tr>
              <a:tr h="19584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-FEB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2MBMB19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2452339"/>
                  </a:ext>
                </a:extLst>
              </a:tr>
              <a:tr h="19584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-FEB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2MBMB14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FIC SARAH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6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8954865"/>
                  </a:ext>
                </a:extLst>
              </a:tr>
              <a:tr h="19584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-FEB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2MBMB18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FIC SARAH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4839808"/>
                  </a:ext>
                </a:extLst>
              </a:tr>
              <a:tr h="19584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-AUG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8MBMB12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LAGIA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6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1494501"/>
                  </a:ext>
                </a:extLst>
              </a:tr>
              <a:tr h="19584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-MAR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MBMB06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K GENERATION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29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6268010"/>
                  </a:ext>
                </a:extLst>
              </a:tr>
              <a:tr h="19584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-MAR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MBMB10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8789647"/>
                  </a:ext>
                </a:extLst>
              </a:tr>
              <a:tr h="19584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MAR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MBMB159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346383"/>
                  </a:ext>
                </a:extLst>
              </a:tr>
              <a:tr h="19584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-MAR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MBMB1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K GENERATION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2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5375527"/>
                  </a:ext>
                </a:extLst>
              </a:tr>
              <a:tr h="19584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MAR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MBMB156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445679"/>
                  </a:ext>
                </a:extLst>
              </a:tr>
              <a:tr h="19584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-FEB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2MBMB13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FIC SARAH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2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9935751"/>
                  </a:ext>
                </a:extLst>
              </a:tr>
              <a:tr h="19584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-DEC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12MBMB169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ko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6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1731328"/>
                  </a:ext>
                </a:extLst>
              </a:tr>
              <a:tr h="16245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-MAY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BMB125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ISSE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9710067"/>
                  </a:ext>
                </a:extLst>
              </a:tr>
              <a:tr h="19584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-MAR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MBMB09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K GENERATION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9483895"/>
                  </a:ext>
                </a:extLst>
              </a:tr>
              <a:tr h="19584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-APR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4MBMB12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CEOUS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9516701"/>
                  </a:ext>
                </a:extLst>
              </a:tr>
              <a:tr h="19584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-MAR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MBMB19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CEOUS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7173"/>
                  </a:ext>
                </a:extLst>
              </a:tr>
              <a:tr h="19584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-AUG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8MBMB13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LAGIA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8792784"/>
                  </a:ext>
                </a:extLst>
              </a:tr>
              <a:tr h="16245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-MAY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BMB175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ISSE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8749838"/>
                  </a:ext>
                </a:extLst>
              </a:tr>
              <a:tr h="19584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-DEC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12MBMB17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ko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127921"/>
                  </a:ext>
                </a:extLst>
              </a:tr>
              <a:tr h="19584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-MAR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MBMB162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3212508"/>
                  </a:ext>
                </a:extLst>
              </a:tr>
              <a:tr h="19584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-MAR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MBMB19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CEOUS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3330034"/>
                  </a:ext>
                </a:extLst>
              </a:tr>
              <a:tr h="19584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-DEC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12MBMB156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ko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1659470"/>
                  </a:ext>
                </a:extLst>
              </a:tr>
              <a:tr h="19584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-APR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4MBMB02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YAL ARGO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9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3481685"/>
                  </a:ext>
                </a:extLst>
              </a:tr>
              <a:tr h="19584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-MAR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MBMB20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CEOUS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949525"/>
                  </a:ext>
                </a:extLst>
              </a:tr>
              <a:tr h="19584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-DEC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12MBMB02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untu Harmony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7386793"/>
                  </a:ext>
                </a:extLst>
              </a:tr>
              <a:tr h="16245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-MAY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BMB116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ISSE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7856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352390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C24E9429-A9D7-2D71-E7EA-A6B3406A6276}"/>
              </a:ext>
            </a:extLst>
          </p:cNvPr>
          <p:cNvSpPr txBox="1"/>
          <p:nvPr/>
        </p:nvSpPr>
        <p:spPr>
          <a:xfrm>
            <a:off x="223520" y="203200"/>
            <a:ext cx="118867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llinbah PCI Coal Ash % reported at TSM- Comparison of deviation w.r.t method of reporting</a:t>
            </a: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</a:p>
        </p:txBody>
      </p:sp>
      <p:sp>
        <p:nvSpPr>
          <p:cNvPr id="2" name="Action Button: Go Home 1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3A9124F4-8DFF-7049-CD91-E538A689D0BE}"/>
              </a:ext>
            </a:extLst>
          </p:cNvPr>
          <p:cNvSpPr/>
          <p:nvPr/>
        </p:nvSpPr>
        <p:spPr>
          <a:xfrm>
            <a:off x="11811000" y="203200"/>
            <a:ext cx="314960" cy="365760"/>
          </a:xfrm>
          <a:prstGeom prst="actionButtonHom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F0BA140C-EB1E-E5FE-F4A2-C57CBFBD4E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8436889"/>
              </p:ext>
            </p:extLst>
          </p:nvPr>
        </p:nvGraphicFramePr>
        <p:xfrm>
          <a:off x="342900" y="723900"/>
          <a:ext cx="11468100" cy="5613399"/>
        </p:xfrm>
        <a:graphic>
          <a:graphicData uri="http://schemas.openxmlformats.org/drawingml/2006/table">
            <a:tbl>
              <a:tblPr/>
              <a:tblGrid>
                <a:gridCol w="769705">
                  <a:extLst>
                    <a:ext uri="{9D8B030D-6E8A-4147-A177-3AD203B41FA5}">
                      <a16:colId xmlns:a16="http://schemas.microsoft.com/office/drawing/2014/main" val="3400192194"/>
                    </a:ext>
                  </a:extLst>
                </a:gridCol>
                <a:gridCol w="479817">
                  <a:extLst>
                    <a:ext uri="{9D8B030D-6E8A-4147-A177-3AD203B41FA5}">
                      <a16:colId xmlns:a16="http://schemas.microsoft.com/office/drawing/2014/main" val="369139710"/>
                    </a:ext>
                  </a:extLst>
                </a:gridCol>
                <a:gridCol w="845396">
                  <a:extLst>
                    <a:ext uri="{9D8B030D-6E8A-4147-A177-3AD203B41FA5}">
                      <a16:colId xmlns:a16="http://schemas.microsoft.com/office/drawing/2014/main" val="1171747240"/>
                    </a:ext>
                  </a:extLst>
                </a:gridCol>
                <a:gridCol w="1129569">
                  <a:extLst>
                    <a:ext uri="{9D8B030D-6E8A-4147-A177-3AD203B41FA5}">
                      <a16:colId xmlns:a16="http://schemas.microsoft.com/office/drawing/2014/main" val="3166188645"/>
                    </a:ext>
                  </a:extLst>
                </a:gridCol>
                <a:gridCol w="814620">
                  <a:extLst>
                    <a:ext uri="{9D8B030D-6E8A-4147-A177-3AD203B41FA5}">
                      <a16:colId xmlns:a16="http://schemas.microsoft.com/office/drawing/2014/main" val="919124264"/>
                    </a:ext>
                  </a:extLst>
                </a:gridCol>
                <a:gridCol w="879664">
                  <a:extLst>
                    <a:ext uri="{9D8B030D-6E8A-4147-A177-3AD203B41FA5}">
                      <a16:colId xmlns:a16="http://schemas.microsoft.com/office/drawing/2014/main" val="2971252212"/>
                    </a:ext>
                  </a:extLst>
                </a:gridCol>
                <a:gridCol w="789698">
                  <a:extLst>
                    <a:ext uri="{9D8B030D-6E8A-4147-A177-3AD203B41FA5}">
                      <a16:colId xmlns:a16="http://schemas.microsoft.com/office/drawing/2014/main" val="1630535275"/>
                    </a:ext>
                  </a:extLst>
                </a:gridCol>
                <a:gridCol w="1861061">
                  <a:extLst>
                    <a:ext uri="{9D8B030D-6E8A-4147-A177-3AD203B41FA5}">
                      <a16:colId xmlns:a16="http://schemas.microsoft.com/office/drawing/2014/main" val="538065591"/>
                    </a:ext>
                  </a:extLst>
                </a:gridCol>
                <a:gridCol w="1729401">
                  <a:extLst>
                    <a:ext uri="{9D8B030D-6E8A-4147-A177-3AD203B41FA5}">
                      <a16:colId xmlns:a16="http://schemas.microsoft.com/office/drawing/2014/main" val="2270508951"/>
                    </a:ext>
                  </a:extLst>
                </a:gridCol>
                <a:gridCol w="2169169">
                  <a:extLst>
                    <a:ext uri="{9D8B030D-6E8A-4147-A177-3AD203B41FA5}">
                      <a16:colId xmlns:a16="http://schemas.microsoft.com/office/drawing/2014/main" val="1379507467"/>
                    </a:ext>
                  </a:extLst>
                </a:gridCol>
              </a:tblGrid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NTH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OR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AKE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VESSEL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NTRACTED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LP(ADB)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LP(DB)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SM(DB)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SM is within +-0.28(ADB-DB)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SM is within +-0.28(DB-DB)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44989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NOV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11MBMB0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untu Harmony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4034865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-FEB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2MBMB19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6402423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-MAR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MBMB16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6945564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-MAY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BMB10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ISSE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0651685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-APR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4MBMB18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FELI.GR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3793206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-APR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4MBMB1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FELI.GR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8545581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-MAR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MBMB205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CEOUS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97552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-APR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4MBMB0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YAL ARGO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8347487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-MAY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BMB122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ISSE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9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3176074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-NOV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11MBMB1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untu Harmony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9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3645335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DEC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12MBMB16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ko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600154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-DEC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12MBMB175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ko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25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7679816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-MAR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MBMB1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YAL ARGO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6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3218051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-APR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4MBMB17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FELI.GR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22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4108670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-DEC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12MBMB17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ko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6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135839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-MAR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03MBMB0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K GENERATION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4842095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-AUG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8MBMB136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LAGIA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1951274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-FEB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2MBMB135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FIC SARAH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7825367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-DEC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S12MBMB05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untu Harmony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1044464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-MAY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BMB11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ISSE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5503623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-APR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4MBMB18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FELI.GR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438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-MAY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BMB13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ISSE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6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467857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-MAR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MBMB10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46207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-MAR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MBMB16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2932848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-MAR-202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03MBMB17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GENESIS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1185081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-MAY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BMB12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ISSE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9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3020441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DEC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12MBMB15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ko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8836486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-DEC-202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CT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12MBMB165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ko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0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6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OK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9570476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kes(Within tolerance limit)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0792509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3" marR="4303" marT="430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3" marR="4303" marT="430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3" marR="4303" marT="430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3" marR="4303" marT="430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3" marR="4303" marT="430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3" marR="4303" marT="430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3" marR="4303" marT="4303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Rakes(Outside tolerance limit)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060572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3" marR="4303" marT="43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3" marR="4303" marT="43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3" marR="4303" marT="43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3" marR="4303" marT="43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3" marR="4303" marT="43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3" marR="4303" marT="43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3" marR="4303" marT="4303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Total Rakes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1994970"/>
                  </a:ext>
                </a:extLst>
              </a:tr>
              <a:tr h="170103"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3" marR="4303" marT="43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3" marR="4303" marT="43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3" marR="4303" marT="43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3" marR="4303" marT="43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3" marR="4303" marT="43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3" marR="4303" marT="43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3" marR="4303" marT="4303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%Rakes(Outside tolerance limit)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85.96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effectLst/>
                          <a:latin typeface="Calibri" panose="020F0502020204030204" pitchFamily="34" charset="0"/>
                        </a:rPr>
                        <a:t>75.44</a:t>
                      </a:r>
                    </a:p>
                  </a:txBody>
                  <a:tcPr marL="4303" marR="4303" marT="4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97224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247475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842A3CA-F7DC-9C03-0CF4-716092B4F0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156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42A3CA-F7DC-9C03-0CF4-716092B4F0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E917E52C-8241-7658-3784-CE151A89F2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37704" y="819897"/>
            <a:ext cx="6959879" cy="290175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9C91A85-D16C-2973-1BDA-873A8344B4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3871" y="5254370"/>
            <a:ext cx="9489133" cy="71269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77150A0-4167-5771-91AD-C7393ED6B8E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3871" y="6056376"/>
            <a:ext cx="9489134" cy="742133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3D7F145-B1C6-4DE2-7806-FF1EA6D34F9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7285" y="4835099"/>
            <a:ext cx="4145514" cy="32995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6F25529-82CC-8D7C-CA53-9846C39CFE8B}"/>
              </a:ext>
            </a:extLst>
          </p:cNvPr>
          <p:cNvSpPr txBox="1"/>
          <p:nvPr/>
        </p:nvSpPr>
        <p:spPr>
          <a:xfrm>
            <a:off x="210065" y="103082"/>
            <a:ext cx="11582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 points for Coal Ash % precision as per IS 16143                           </a:t>
            </a: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4445A536-7AFF-A0CE-95E3-A7450D5DDC54}"/>
                  </a:ext>
                </a:extLst>
              </p:cNvPr>
              <p:cNvSpPr txBox="1"/>
              <p:nvPr/>
            </p:nvSpPr>
            <p:spPr>
              <a:xfrm>
                <a:off x="210065" y="3957254"/>
                <a:ext cx="3932813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/>
                  <a:t>V1 =3 for ash contents for washed coals</a:t>
                </a:r>
              </a:p>
              <a:p>
                <a14:m>
                  <m:oMath xmlns:m="http://schemas.openxmlformats.org/officeDocument/2006/math">
                    <m:r>
                      <a:rPr lang="en-IN" i="1" dirty="0" smtClean="0">
                        <a:latin typeface="Cambria Math" panose="02040503050406030204" pitchFamily="18" charset="0"/>
                      </a:rPr>
                      <m:t>𝑉</m:t>
                    </m:r>
                    <m:r>
                      <a:rPr lang="en-IN" i="1" baseline="-25000" dirty="0" smtClean="0">
                        <a:latin typeface="Cambria Math" panose="02040503050406030204" pitchFamily="18" charset="0"/>
                      </a:rPr>
                      <m:t>𝑃</m:t>
                    </m:r>
                    <m:r>
                      <a:rPr lang="en-IN" i="1" baseline="-25000" dirty="0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IN"/>
                  <a:t> = 0.20 </a:t>
                </a:r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4445A536-7AFF-A0CE-95E3-A7450D5DDC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0065" y="3957254"/>
                <a:ext cx="3932813" cy="646331"/>
              </a:xfrm>
              <a:prstGeom prst="rect">
                <a:avLst/>
              </a:prstGeom>
              <a:blipFill>
                <a:blip r:embed="rId9"/>
                <a:stretch>
                  <a:fillRect l="-1238" t="-4717" b="-14151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extBox 2">
            <a:extLst>
              <a:ext uri="{FF2B5EF4-FFF2-40B4-BE49-F238E27FC236}">
                <a16:creationId xmlns:a16="http://schemas.microsoft.com/office/drawing/2014/main" id="{7C11342C-13C2-8818-EC65-2494F5A18D4C}"/>
              </a:ext>
            </a:extLst>
          </p:cNvPr>
          <p:cNvSpPr txBox="1"/>
          <p:nvPr/>
        </p:nvSpPr>
        <p:spPr>
          <a:xfrm>
            <a:off x="215619" y="819897"/>
            <a:ext cx="6797934" cy="2981682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txBody>
          <a:bodyPr wrap="square" rtlCol="0">
            <a:spAutoFit/>
          </a:bodyPr>
          <a:lstStyle/>
          <a:p>
            <a:endParaRPr lang="en-IN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5DE3A83-3BA7-6CBD-BFBE-559FB0A2A5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393489"/>
              </p:ext>
            </p:extLst>
          </p:nvPr>
        </p:nvGraphicFramePr>
        <p:xfrm>
          <a:off x="7164303" y="819897"/>
          <a:ext cx="4812078" cy="3750399"/>
        </p:xfrm>
        <a:graphic>
          <a:graphicData uri="http://schemas.openxmlformats.org/drawingml/2006/table">
            <a:tbl>
              <a:tblPr/>
              <a:tblGrid>
                <a:gridCol w="439417">
                  <a:extLst>
                    <a:ext uri="{9D8B030D-6E8A-4147-A177-3AD203B41FA5}">
                      <a16:colId xmlns:a16="http://schemas.microsoft.com/office/drawing/2014/main" val="278302576"/>
                    </a:ext>
                  </a:extLst>
                </a:gridCol>
                <a:gridCol w="2780895">
                  <a:extLst>
                    <a:ext uri="{9D8B030D-6E8A-4147-A177-3AD203B41FA5}">
                      <a16:colId xmlns:a16="http://schemas.microsoft.com/office/drawing/2014/main" val="4061932823"/>
                    </a:ext>
                  </a:extLst>
                </a:gridCol>
                <a:gridCol w="773144">
                  <a:extLst>
                    <a:ext uri="{9D8B030D-6E8A-4147-A177-3AD203B41FA5}">
                      <a16:colId xmlns:a16="http://schemas.microsoft.com/office/drawing/2014/main" val="1503639633"/>
                    </a:ext>
                  </a:extLst>
                </a:gridCol>
                <a:gridCol w="818622">
                  <a:extLst>
                    <a:ext uri="{9D8B030D-6E8A-4147-A177-3AD203B41FA5}">
                      <a16:colId xmlns:a16="http://schemas.microsoft.com/office/drawing/2014/main" val="666142202"/>
                    </a:ext>
                  </a:extLst>
                </a:gridCol>
              </a:tblGrid>
              <a:tr h="32452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S.No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Descriptio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TSJ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TSK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2177764"/>
                  </a:ext>
                </a:extLst>
              </a:tr>
              <a:tr h="32452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V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Primary Increment Varianc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0728646"/>
                  </a:ext>
                </a:extLst>
              </a:tr>
              <a:tr h="544958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V</a:t>
                      </a:r>
                      <a:r>
                        <a:rPr lang="en-IN" sz="1600" b="0" i="0" u="none" strike="noStrike" baseline="-250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PT</a:t>
                      </a:r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Preparation and testing varianc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3747457"/>
                  </a:ext>
                </a:extLst>
              </a:tr>
              <a:tr h="32452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No of increments per sub lot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9030033"/>
                  </a:ext>
                </a:extLst>
              </a:tr>
              <a:tr h="32452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No of sublots in the lo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5174196"/>
                  </a:ext>
                </a:extLst>
              </a:tr>
              <a:tr h="81743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P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Overall precision of sampling ,</a:t>
                      </a:r>
                    </a:p>
                    <a:p>
                      <a:pPr algn="l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sample preparation and testing for the lo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.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.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671994"/>
                  </a:ext>
                </a:extLst>
              </a:tr>
              <a:tr h="544958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Frequency of increment collec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-7 mi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mi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2138897"/>
                  </a:ext>
                </a:extLst>
              </a:tr>
              <a:tr h="544958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Belt Speed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0 tph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0tph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8581986"/>
                  </a:ext>
                </a:extLst>
              </a:tr>
            </a:tbl>
          </a:graphicData>
        </a:graphic>
      </p:graphicFrame>
      <p:sp>
        <p:nvSpPr>
          <p:cNvPr id="7" name="Action Button: Go Home 6">
            <a:hlinkClick r:id="rId10" action="ppaction://hlinksldjump" highlightClick="1"/>
            <a:extLst>
              <a:ext uri="{FF2B5EF4-FFF2-40B4-BE49-F238E27FC236}">
                <a16:creationId xmlns:a16="http://schemas.microsoft.com/office/drawing/2014/main" id="{B46EF777-E835-FA6A-6CFF-A48C8F976FEC}"/>
              </a:ext>
            </a:extLst>
          </p:cNvPr>
          <p:cNvSpPr/>
          <p:nvPr/>
        </p:nvSpPr>
        <p:spPr>
          <a:xfrm>
            <a:off x="11811000" y="203200"/>
            <a:ext cx="314960" cy="365760"/>
          </a:xfrm>
          <a:prstGeom prst="actionButtonHom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52606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72DA042-D3F2-369C-A365-2B01246541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5301067"/>
              </p:ext>
            </p:extLst>
          </p:nvPr>
        </p:nvGraphicFramePr>
        <p:xfrm>
          <a:off x="300990" y="877094"/>
          <a:ext cx="11427459" cy="2323304"/>
        </p:xfrm>
        <a:graphic>
          <a:graphicData uri="http://schemas.openxmlformats.org/drawingml/2006/table">
            <a:tbl>
              <a:tblPr/>
              <a:tblGrid>
                <a:gridCol w="1027187">
                  <a:extLst>
                    <a:ext uri="{9D8B030D-6E8A-4147-A177-3AD203B41FA5}">
                      <a16:colId xmlns:a16="http://schemas.microsoft.com/office/drawing/2014/main" val="278302576"/>
                    </a:ext>
                  </a:extLst>
                </a:gridCol>
                <a:gridCol w="7318711">
                  <a:extLst>
                    <a:ext uri="{9D8B030D-6E8A-4147-A177-3AD203B41FA5}">
                      <a16:colId xmlns:a16="http://schemas.microsoft.com/office/drawing/2014/main" val="4061932823"/>
                    </a:ext>
                  </a:extLst>
                </a:gridCol>
                <a:gridCol w="1027187">
                  <a:extLst>
                    <a:ext uri="{9D8B030D-6E8A-4147-A177-3AD203B41FA5}">
                      <a16:colId xmlns:a16="http://schemas.microsoft.com/office/drawing/2014/main" val="1503639633"/>
                    </a:ext>
                  </a:extLst>
                </a:gridCol>
                <a:gridCol w="1027187">
                  <a:extLst>
                    <a:ext uri="{9D8B030D-6E8A-4147-A177-3AD203B41FA5}">
                      <a16:colId xmlns:a16="http://schemas.microsoft.com/office/drawing/2014/main" val="666142202"/>
                    </a:ext>
                  </a:extLst>
                </a:gridCol>
                <a:gridCol w="1027187">
                  <a:extLst>
                    <a:ext uri="{9D8B030D-6E8A-4147-A177-3AD203B41FA5}">
                      <a16:colId xmlns:a16="http://schemas.microsoft.com/office/drawing/2014/main" val="1242366213"/>
                    </a:ext>
                  </a:extLst>
                </a:gridCol>
              </a:tblGrid>
              <a:tr h="290413">
                <a:tc>
                  <a:txBody>
                    <a:bodyPr/>
                    <a:lstStyle/>
                    <a:p>
                      <a:pPr algn="l" fontAlgn="b"/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TSJ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TSK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EXP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2177764"/>
                  </a:ext>
                </a:extLst>
              </a:tr>
              <a:tr h="29041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V1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Primary Increment Varianc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 Narrow" panose="020B0606020202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0728646"/>
                  </a:ext>
                </a:extLst>
              </a:tr>
              <a:tr h="29041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V</a:t>
                      </a:r>
                      <a:r>
                        <a:rPr lang="en-IN" sz="1600" b="0" i="0" u="none" strike="noStrike" baseline="-250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PT</a:t>
                      </a:r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Preparation and testing varianc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 Narrow" panose="020B0606020202030204" pitchFamily="34" charset="0"/>
                        </a:rPr>
                        <a:t>0.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3747457"/>
                  </a:ext>
                </a:extLst>
              </a:tr>
              <a:tr h="29041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No of increments per sub lot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 Narrow" panose="020B060602020203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9030033"/>
                  </a:ext>
                </a:extLst>
              </a:tr>
              <a:tr h="29041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m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No of sublots in the lo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 Narrow" panose="020B0606020202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5174196"/>
                  </a:ext>
                </a:extLst>
              </a:tr>
              <a:tr h="29041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PL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Overall precision of sampling , sample preparation and testing for the lo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.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.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 Narrow" panose="020B0606020202030204" pitchFamily="34" charset="0"/>
                        </a:rPr>
                        <a:t>0.3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671994"/>
                  </a:ext>
                </a:extLst>
              </a:tr>
              <a:tr h="29041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Frequency of increment collectio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-7 mi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mi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 Narrow" panose="020B0606020202030204" pitchFamily="34" charset="0"/>
                        </a:rPr>
                        <a:t>N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2138897"/>
                  </a:ext>
                </a:extLst>
              </a:tr>
              <a:tr h="29041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Belt Speed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0 tph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0tph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 Narrow" panose="020B0606020202030204" pitchFamily="34" charset="0"/>
                        </a:rPr>
                        <a:t>N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8581986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21C98FFB-5B3C-A968-99FC-69E91B13189F}"/>
              </a:ext>
            </a:extLst>
          </p:cNvPr>
          <p:cNvSpPr txBox="1"/>
          <p:nvPr/>
        </p:nvSpPr>
        <p:spPr>
          <a:xfrm>
            <a:off x="223520" y="202211"/>
            <a:ext cx="11582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 points for Coal Ash % precision as per IS 16143  for plant sites                         </a:t>
            </a: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</a:p>
        </p:txBody>
      </p:sp>
      <p:sp>
        <p:nvSpPr>
          <p:cNvPr id="2" name="Action Button: Go Home 1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5DE50225-F5DB-9ABE-26EE-F746669936BA}"/>
              </a:ext>
            </a:extLst>
          </p:cNvPr>
          <p:cNvSpPr/>
          <p:nvPr/>
        </p:nvSpPr>
        <p:spPr>
          <a:xfrm>
            <a:off x="11811000" y="203200"/>
            <a:ext cx="314960" cy="365760"/>
          </a:xfrm>
          <a:prstGeom prst="actionButtonHom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3" name="Action Button: Go Home 2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97334C88-2C9F-AF8A-FD27-E7386E3089E2}"/>
              </a:ext>
            </a:extLst>
          </p:cNvPr>
          <p:cNvSpPr/>
          <p:nvPr/>
        </p:nvSpPr>
        <p:spPr>
          <a:xfrm>
            <a:off x="11811000" y="202211"/>
            <a:ext cx="314960" cy="365760"/>
          </a:xfrm>
          <a:prstGeom prst="actionButtonHom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3968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9E1757B-D1B7-608B-DC9D-BB552411ED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016" y="707969"/>
            <a:ext cx="11027344" cy="459696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D23C547-E150-9E95-4D66-4B5FBB17A5DE}"/>
              </a:ext>
            </a:extLst>
          </p:cNvPr>
          <p:cNvSpPr txBox="1"/>
          <p:nvPr/>
        </p:nvSpPr>
        <p:spPr>
          <a:xfrm>
            <a:off x="223520" y="5313325"/>
            <a:ext cx="114253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As we move from Load Port to plant the variation in the reported value of VM% increases for the same reason as ash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Reported values are generally on higher side at TSJ having high variation w.r.t LP report.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B4B9354-90C2-9E29-6C8C-58BB4317C334}"/>
              </a:ext>
            </a:extLst>
          </p:cNvPr>
          <p:cNvSpPr txBox="1"/>
          <p:nvPr/>
        </p:nvSpPr>
        <p:spPr>
          <a:xfrm>
            <a:off x="223520" y="6531714"/>
            <a:ext cx="100472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LP: Load Port | DP: Discharge Port | POR – Port Outgoing Rake | PIR – Plant Incoming Rak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1EC690F-37EC-B7CD-BA58-2ACDC2335569}"/>
              </a:ext>
            </a:extLst>
          </p:cNvPr>
          <p:cNvCxnSpPr>
            <a:cxnSpLocks/>
          </p:cNvCxnSpPr>
          <p:nvPr/>
        </p:nvCxnSpPr>
        <p:spPr>
          <a:xfrm>
            <a:off x="1249680" y="3006452"/>
            <a:ext cx="1009904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662AF41-5727-F2FC-C389-E1DB5B08D602}"/>
              </a:ext>
            </a:extLst>
          </p:cNvPr>
          <p:cNvCxnSpPr>
            <a:cxnSpLocks/>
          </p:cNvCxnSpPr>
          <p:nvPr/>
        </p:nvCxnSpPr>
        <p:spPr>
          <a:xfrm flipV="1">
            <a:off x="1249680" y="1424175"/>
            <a:ext cx="4924874" cy="1582277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F6257BC-90DD-855A-892E-194F6AB34992}"/>
              </a:ext>
            </a:extLst>
          </p:cNvPr>
          <p:cNvCxnSpPr>
            <a:cxnSpLocks/>
          </p:cNvCxnSpPr>
          <p:nvPr/>
        </p:nvCxnSpPr>
        <p:spPr>
          <a:xfrm>
            <a:off x="1249680" y="3006452"/>
            <a:ext cx="5049520" cy="1805931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EC7A1297-1077-402E-F6CF-6314651A0747}"/>
              </a:ext>
            </a:extLst>
          </p:cNvPr>
          <p:cNvSpPr txBox="1"/>
          <p:nvPr/>
        </p:nvSpPr>
        <p:spPr>
          <a:xfrm>
            <a:off x="223520" y="203200"/>
            <a:ext cx="115925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iation of VM% reported at different nodes vs Load Port</a:t>
            </a:r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		           April’23- March’24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D9D37D3-E23F-3F9E-E66B-C38611894403}"/>
              </a:ext>
            </a:extLst>
          </p:cNvPr>
          <p:cNvSpPr txBox="1"/>
          <p:nvPr/>
        </p:nvSpPr>
        <p:spPr>
          <a:xfrm rot="16200000">
            <a:off x="-726411" y="2624533"/>
            <a:ext cx="2770051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IN" dirty="0"/>
              <a:t>Diff in VM%  reporting</a:t>
            </a:r>
          </a:p>
        </p:txBody>
      </p:sp>
    </p:spTree>
    <p:extLst>
      <p:ext uri="{BB962C8B-B14F-4D97-AF65-F5344CB8AC3E}">
        <p14:creationId xmlns:p14="http://schemas.microsoft.com/office/powerpoint/2010/main" val="16441165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633E877F-0775-8501-BFB4-D09B5E6B5C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8495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3E877F-0775-8501-BFB4-D09B5E6B5C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27E51FAC-8939-7A9D-2BAF-6F1BEE370838}"/>
              </a:ext>
            </a:extLst>
          </p:cNvPr>
          <p:cNvSpPr txBox="1"/>
          <p:nvPr/>
        </p:nvSpPr>
        <p:spPr>
          <a:xfrm>
            <a:off x="314878" y="721924"/>
            <a:ext cx="3678066" cy="3656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b="1" dirty="0">
                <a:latin typeface="Arial" panose="020B0604020202020204" pitchFamily="34" charset="0"/>
                <a:cs typeface="Arial" panose="020B0604020202020204" pitchFamily="34" charset="0"/>
              </a:rPr>
              <a:t>Current Stat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F35414E-2246-E5B1-8052-E87513A3368A}"/>
              </a:ext>
            </a:extLst>
          </p:cNvPr>
          <p:cNvSpPr txBox="1"/>
          <p:nvPr/>
        </p:nvSpPr>
        <p:spPr>
          <a:xfrm>
            <a:off x="146784" y="43823"/>
            <a:ext cx="11887176" cy="3961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y for determination of tolerance in reported coal ash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70C11A37-F0F8-090E-C717-572DB70042BB}"/>
                  </a:ext>
                </a:extLst>
              </p:cNvPr>
              <p:cNvSpPr txBox="1"/>
              <p:nvPr/>
            </p:nvSpPr>
            <p:spPr>
              <a:xfrm>
                <a:off x="223450" y="1243129"/>
                <a:ext cx="3576462" cy="13103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IN" sz="1600">
                    <a:latin typeface="Arial" panose="020B0604020202020204" pitchFamily="34" charset="0"/>
                    <a:cs typeface="Arial" panose="020B0604020202020204" pitchFamily="34" charset="0"/>
                  </a:rPr>
                  <a:t>As per the analysis done with external agency, current tolerance has been taken for Ash as </a:t>
                </a:r>
                <a14:m>
                  <m:oMath xmlns:m="http://schemas.openxmlformats.org/officeDocument/2006/math">
                    <m:r>
                      <a:rPr lang="en-IN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± </m:t>
                    </m:r>
                  </m:oMath>
                </a14:m>
                <a:r>
                  <a:rPr lang="en-IN" sz="1600" b="1">
                    <a:latin typeface="Arial" panose="020B0604020202020204" pitchFamily="34" charset="0"/>
                    <a:cs typeface="Arial" panose="020B0604020202020204" pitchFamily="34" charset="0"/>
                  </a:rPr>
                  <a:t>0.28</a:t>
                </a:r>
                <a:r>
                  <a:rPr lang="en-IN" sz="1600">
                    <a:latin typeface="Arial" panose="020B0604020202020204" pitchFamily="34" charset="0"/>
                    <a:cs typeface="Arial" panose="020B0604020202020204" pitchFamily="34" charset="0"/>
                  </a:rPr>
                  <a:t>, which only accounts for variations due to inter-lab testing. </a:t>
                </a:r>
              </a:p>
            </p:txBody>
          </p:sp>
        </mc:Choice>
        <mc:Fallback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70C11A37-F0F8-090E-C717-572DB70042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3450" y="1243129"/>
                <a:ext cx="3576462" cy="1310336"/>
              </a:xfrm>
              <a:prstGeom prst="rect">
                <a:avLst/>
              </a:prstGeom>
              <a:blipFill>
                <a:blip r:embed="rId5"/>
                <a:stretch>
                  <a:fillRect l="-683" t="-1395" r="-1195" b="-6047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Arrow: Right 23">
            <a:extLst>
              <a:ext uri="{FF2B5EF4-FFF2-40B4-BE49-F238E27FC236}">
                <a16:creationId xmlns:a16="http://schemas.microsoft.com/office/drawing/2014/main" id="{88905DD3-47DC-9195-7308-9F71737AE513}"/>
              </a:ext>
            </a:extLst>
          </p:cNvPr>
          <p:cNvSpPr/>
          <p:nvPr/>
        </p:nvSpPr>
        <p:spPr>
          <a:xfrm>
            <a:off x="314953" y="2689042"/>
            <a:ext cx="457206" cy="3468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EC8B5104-F324-1159-149D-A12927E0C309}"/>
                  </a:ext>
                </a:extLst>
              </p:cNvPr>
              <p:cNvSpPr txBox="1"/>
              <p:nvPr/>
            </p:nvSpPr>
            <p:spPr>
              <a:xfrm>
                <a:off x="4736962" y="3203002"/>
                <a:ext cx="7064224" cy="362247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GB" sz="1600" b="1">
                    <a:solidFill>
                      <a:srgbClr val="22222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&amp;R tolerance</a:t>
                </a:r>
                <a:r>
                  <a:rPr lang="en-GB" sz="1600" b="1" i="0" baseline="-25000">
                    <a:solidFill>
                      <a:srgbClr val="222222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GB" sz="1600" b="1" i="0">
                    <a:solidFill>
                      <a:srgbClr val="222222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= </a:t>
                </a:r>
                <a14:m>
                  <m:oMath xmlns:m="http://schemas.openxmlformats.org/officeDocument/2006/math">
                    <m:r>
                      <a:rPr lang="en-GB" sz="1600" b="1" i="0" smtClean="0">
                        <a:solidFill>
                          <a:srgbClr val="222222"/>
                        </a:solidFill>
                        <a:effectLst/>
                        <a:latin typeface="Cambria Math" panose="02040503050406030204" pitchFamily="18" charset="0"/>
                      </a:rPr>
                      <m:t> </m:t>
                    </m:r>
                    <m:rad>
                      <m:radPr>
                        <m:degHide m:val="on"/>
                        <m:ctrlPr>
                          <a:rPr lang="en-GB" sz="1600" b="1" i="1" smtClean="0">
                            <a:solidFill>
                              <a:srgbClr val="222222"/>
                            </a:solidFill>
                            <a:effectLst/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radPr>
                      <m:deg/>
                      <m:e>
                        <m:r>
                          <m:rPr>
                            <m:nor/>
                          </m:rPr>
                          <a:rPr lang="el-GR" sz="1600" b="1" dirty="0">
                            <a:solidFill>
                              <a:srgbClr val="222222"/>
                            </a:solidFill>
                            <a:latin typeface="Arial" panose="020B0604020202020204" pitchFamily="34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σ</m:t>
                        </m:r>
                        <m:r>
                          <m:rPr>
                            <m:nor/>
                          </m:rPr>
                          <a:rPr lang="el-GR" sz="1600" b="1" baseline="30000" dirty="0">
                            <a:solidFill>
                              <a:srgbClr val="222222"/>
                            </a:solidFill>
                            <a:latin typeface="Arial" panose="020B0604020202020204" pitchFamily="34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  <m:r>
                          <m:rPr>
                            <m:nor/>
                          </m:rPr>
                          <a:rPr lang="el-GR" sz="1600" b="1" dirty="0">
                            <a:solidFill>
                              <a:srgbClr val="222222"/>
                            </a:solidFill>
                            <a:latin typeface="Arial" panose="020B0604020202020204" pitchFamily="34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 </m:t>
                        </m:r>
                        <m:r>
                          <m:rPr>
                            <m:nor/>
                          </m:rPr>
                          <a:rPr lang="en-IN" sz="1600" b="1" baseline="-25000" dirty="0">
                            <a:solidFill>
                              <a:srgbClr val="222222"/>
                            </a:solidFill>
                            <a:latin typeface="Arial" panose="020B0604020202020204" pitchFamily="34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Repeatability</m:t>
                        </m:r>
                        <m:r>
                          <m:rPr>
                            <m:nor/>
                          </m:rPr>
                          <a:rPr lang="en-IN" sz="1600" b="1" baseline="-25000" dirty="0">
                            <a:solidFill>
                              <a:srgbClr val="222222"/>
                            </a:solidFill>
                            <a:latin typeface="Arial" panose="020B0604020202020204" pitchFamily="34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 +</m:t>
                        </m:r>
                        <m:r>
                          <m:rPr>
                            <m:nor/>
                          </m:rPr>
                          <a:rPr lang="el-GR" sz="1600" b="1" dirty="0">
                            <a:solidFill>
                              <a:srgbClr val="222222"/>
                            </a:solidFill>
                            <a:latin typeface="Arial" panose="020B0604020202020204" pitchFamily="34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 </m:t>
                        </m:r>
                        <m:r>
                          <m:rPr>
                            <m:nor/>
                          </m:rPr>
                          <a:rPr lang="el-GR" sz="1600" b="1" dirty="0">
                            <a:solidFill>
                              <a:srgbClr val="222222"/>
                            </a:solidFill>
                            <a:latin typeface="Arial" panose="020B0604020202020204" pitchFamily="34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σ</m:t>
                        </m:r>
                        <m:r>
                          <m:rPr>
                            <m:nor/>
                          </m:rPr>
                          <a:rPr lang="el-GR" sz="1600" b="1" baseline="30000" dirty="0">
                            <a:solidFill>
                              <a:srgbClr val="222222"/>
                            </a:solidFill>
                            <a:latin typeface="Arial" panose="020B0604020202020204" pitchFamily="34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  <m:r>
                          <m:rPr>
                            <m:nor/>
                          </m:rPr>
                          <a:rPr lang="el-GR" sz="1600" b="1" dirty="0">
                            <a:solidFill>
                              <a:srgbClr val="222222"/>
                            </a:solidFill>
                            <a:latin typeface="Arial" panose="020B0604020202020204" pitchFamily="34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 </m:t>
                        </m:r>
                        <m:r>
                          <m:rPr>
                            <m:nor/>
                          </m:rPr>
                          <a:rPr lang="en-IN" sz="1600" b="1" baseline="-25000" dirty="0">
                            <a:solidFill>
                              <a:srgbClr val="222222"/>
                            </a:solidFill>
                            <a:latin typeface="Arial" panose="020B0604020202020204" pitchFamily="34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Reproducibility</m:t>
                        </m:r>
                      </m:e>
                    </m:rad>
                  </m:oMath>
                </a14:m>
                <a:r>
                  <a:rPr lang="en-IN" sz="1600">
                    <a:latin typeface="Arial" panose="020B0604020202020204" pitchFamily="34" charset="0"/>
                    <a:cs typeface="Arial" panose="020B0604020202020204" pitchFamily="34" charset="0"/>
                  </a:rPr>
                  <a:t>= </a:t>
                </a:r>
                <a14:m>
                  <m:oMath xmlns:m="http://schemas.openxmlformats.org/officeDocument/2006/math">
                    <m:rad>
                      <m:radPr>
                        <m:degHide m:val="on"/>
                        <m:ctrlPr>
                          <a:rPr lang="en-IN" sz="16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radPr>
                      <m:deg/>
                      <m:e>
                        <m:r>
                          <a:rPr lang="en-GB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0.2</m:t>
                        </m:r>
                        <m:r>
                          <a:rPr lang="en-GB" sz="1600" i="1" baseline="3000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  <m:r>
                          <m:rPr>
                            <m:nor/>
                          </m:rPr>
                          <a:rPr lang="en-IN" sz="1600" dirty="0">
                            <a:latin typeface="Arial" panose="020B0604020202020204" pitchFamily="34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+0.4</m:t>
                        </m:r>
                        <m:r>
                          <m:rPr>
                            <m:nor/>
                          </m:rPr>
                          <a:rPr lang="en-IN" sz="1600" baseline="30000" dirty="0">
                            <a:latin typeface="Arial" panose="020B0604020202020204" pitchFamily="34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e>
                    </m:rad>
                  </m:oMath>
                </a14:m>
                <a:r>
                  <a:rPr lang="en-IN" sz="1600" baseline="30000">
                    <a:latin typeface="Arial" panose="020B0604020202020204" pitchFamily="34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 </a:t>
                </a:r>
                <a:r>
                  <a:rPr lang="en-IN" sz="1600">
                    <a:latin typeface="Arial" panose="020B0604020202020204" pitchFamily="34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=</a:t>
                </a:r>
                <a:r>
                  <a:rPr lang="en-IN" sz="1600">
                    <a:ea typeface="Cambria Math" panose="02040503050406030204" pitchFamily="18" charset="0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IN" sz="1600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±</m:t>
                    </m:r>
                  </m:oMath>
                </a14:m>
                <a:r>
                  <a:rPr lang="en-IN" sz="1600">
                    <a:latin typeface="Arial" panose="020B0604020202020204" pitchFamily="34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0.48 units </a:t>
                </a:r>
                <a:endParaRPr lang="en-IN" sz="1600" baseline="30000">
                  <a:latin typeface="Arial" panose="020B0604020202020204" pitchFamily="34" charset="0"/>
                  <a:ea typeface="Cambria Math" panose="02040503050406030204" pitchFamily="18" charset="0"/>
                  <a:cs typeface="Arial" panose="020B0604020202020204" pitchFamily="34" charset="0"/>
                </a:endParaRPr>
              </a:p>
            </p:txBody>
          </p:sp>
        </mc:Choice>
        <mc:Fallback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EC8B5104-F324-1159-149D-A12927E0C30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36962" y="3203002"/>
                <a:ext cx="7064224" cy="362247"/>
              </a:xfrm>
              <a:prstGeom prst="rect">
                <a:avLst/>
              </a:prstGeom>
              <a:blipFill>
                <a:blip r:embed="rId6"/>
                <a:stretch>
                  <a:fillRect l="-345" b="-19355"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" name="TextBox 25">
            <a:extLst>
              <a:ext uri="{FF2B5EF4-FFF2-40B4-BE49-F238E27FC236}">
                <a16:creationId xmlns:a16="http://schemas.microsoft.com/office/drawing/2014/main" id="{FB77F526-6D81-B78E-349C-6FA2E3CBA44A}"/>
              </a:ext>
            </a:extLst>
          </p:cNvPr>
          <p:cNvSpPr txBox="1"/>
          <p:nvPr/>
        </p:nvSpPr>
        <p:spPr>
          <a:xfrm>
            <a:off x="4256967" y="713981"/>
            <a:ext cx="3678066" cy="3656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b="1" dirty="0">
                <a:latin typeface="Arial" panose="020B0604020202020204" pitchFamily="34" charset="0"/>
                <a:cs typeface="Arial" panose="020B0604020202020204" pitchFamily="34" charset="0"/>
              </a:rPr>
              <a:t>Proposed Stat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1FDC221-A91B-8B75-A7D2-428EC577F157}"/>
              </a:ext>
            </a:extLst>
          </p:cNvPr>
          <p:cNvSpPr txBox="1"/>
          <p:nvPr/>
        </p:nvSpPr>
        <p:spPr>
          <a:xfrm>
            <a:off x="4447619" y="1497019"/>
            <a:ext cx="2782174" cy="13103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As suggested in IS- 135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+/- 0.48 as per R&amp;R tolerance mentioned in the standard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FEB717D-3CFF-7471-B1CA-516E729E024F}"/>
              </a:ext>
            </a:extLst>
          </p:cNvPr>
          <p:cNvSpPr txBox="1"/>
          <p:nvPr/>
        </p:nvSpPr>
        <p:spPr>
          <a:xfrm>
            <a:off x="811882" y="2624099"/>
            <a:ext cx="3181062" cy="578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As per SABS CRM -023, testing done in FY20</a:t>
            </a:r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015411A8-5A99-4096-EF6D-31B300C5D763}"/>
              </a:ext>
            </a:extLst>
          </p:cNvPr>
          <p:cNvSpPr/>
          <p:nvPr/>
        </p:nvSpPr>
        <p:spPr>
          <a:xfrm>
            <a:off x="7284852" y="1994670"/>
            <a:ext cx="457206" cy="3468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B360ABAA-CCB5-7CA4-E5FF-4324AEFA0D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83556" y="1331285"/>
            <a:ext cx="4649180" cy="1881527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2ED335D1-B639-A3F7-858D-73E57E67F36B}"/>
              </a:ext>
            </a:extLst>
          </p:cNvPr>
          <p:cNvSpPr txBox="1"/>
          <p:nvPr/>
        </p:nvSpPr>
        <p:spPr>
          <a:xfrm>
            <a:off x="4447629" y="4299380"/>
            <a:ext cx="2268178" cy="1066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As suggested in  IS- 1614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+/- 0.55 at TSJ</a:t>
            </a:r>
          </a:p>
        </p:txBody>
      </p:sp>
      <p:sp>
        <p:nvSpPr>
          <p:cNvPr id="43" name="Arrow: Right 42">
            <a:extLst>
              <a:ext uri="{FF2B5EF4-FFF2-40B4-BE49-F238E27FC236}">
                <a16:creationId xmlns:a16="http://schemas.microsoft.com/office/drawing/2014/main" id="{BC3505AE-1C98-500F-4987-59C3CFF45B8E}"/>
              </a:ext>
            </a:extLst>
          </p:cNvPr>
          <p:cNvSpPr/>
          <p:nvPr/>
        </p:nvSpPr>
        <p:spPr>
          <a:xfrm>
            <a:off x="7084346" y="4347938"/>
            <a:ext cx="457206" cy="3468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A322431-0905-EFA2-6A30-229CA9162C60}"/>
              </a:ext>
            </a:extLst>
          </p:cNvPr>
          <p:cNvSpPr txBox="1"/>
          <p:nvPr/>
        </p:nvSpPr>
        <p:spPr>
          <a:xfrm>
            <a:off x="8041398" y="2312645"/>
            <a:ext cx="3759722" cy="281251"/>
          </a:xfrm>
          <a:prstGeom prst="rect">
            <a:avLst/>
          </a:prstGeom>
          <a:noFill/>
          <a:ln w="19050">
            <a:solidFill>
              <a:srgbClr val="FF2929"/>
            </a:solidFill>
            <a:prstDash val="dash"/>
          </a:ln>
        </p:spPr>
        <p:txBody>
          <a:bodyPr wrap="square" rtlCol="0">
            <a:spAutoFit/>
          </a:bodyPr>
          <a:lstStyle/>
          <a:p>
            <a:endParaRPr lang="en-IN" b="1">
              <a:latin typeface="Arial Narrow" panose="020B0606020202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66A2F85-E4DA-2D61-13A1-23C7282B894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715" t="2053" r="7081"/>
          <a:stretch/>
        </p:blipFill>
        <p:spPr>
          <a:xfrm>
            <a:off x="146784" y="3621621"/>
            <a:ext cx="4269331" cy="311085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D98413A-BE84-A8CB-9EC7-4ABB514F7198}"/>
              </a:ext>
            </a:extLst>
          </p:cNvPr>
          <p:cNvSpPr txBox="1"/>
          <p:nvPr/>
        </p:nvSpPr>
        <p:spPr>
          <a:xfrm>
            <a:off x="223447" y="5251159"/>
            <a:ext cx="3769510" cy="170428"/>
          </a:xfrm>
          <a:prstGeom prst="rect">
            <a:avLst/>
          </a:prstGeom>
          <a:noFill/>
          <a:ln w="19050">
            <a:solidFill>
              <a:srgbClr val="FF2929"/>
            </a:solidFill>
            <a:prstDash val="dash"/>
          </a:ln>
        </p:spPr>
        <p:txBody>
          <a:bodyPr wrap="square" rtlCol="0">
            <a:spAutoFit/>
          </a:bodyPr>
          <a:lstStyle/>
          <a:p>
            <a:endParaRPr lang="en-IN" b="1">
              <a:latin typeface="Arial Narrow" panose="020B0606020202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9FE692A-1DA1-109D-07F5-4B6365B5C159}"/>
              </a:ext>
            </a:extLst>
          </p:cNvPr>
          <p:cNvSpPr txBox="1"/>
          <p:nvPr/>
        </p:nvSpPr>
        <p:spPr>
          <a:xfrm>
            <a:off x="436839" y="6378209"/>
            <a:ext cx="2184484" cy="240919"/>
          </a:xfrm>
          <a:prstGeom prst="rect">
            <a:avLst/>
          </a:prstGeom>
          <a:noFill/>
          <a:ln w="19050">
            <a:solidFill>
              <a:srgbClr val="FF2929"/>
            </a:solidFill>
            <a:prstDash val="dash"/>
          </a:ln>
        </p:spPr>
        <p:txBody>
          <a:bodyPr wrap="square" rtlCol="0">
            <a:spAutoFit/>
          </a:bodyPr>
          <a:lstStyle/>
          <a:p>
            <a:endParaRPr lang="en-IN" b="1">
              <a:latin typeface="Arial Narrow" panose="020B0606020202030204" pitchFamily="34" charset="0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782767AD-7D7E-18CF-C4C7-BC6BF4E190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6289636"/>
              </p:ext>
            </p:extLst>
          </p:nvPr>
        </p:nvGraphicFramePr>
        <p:xfrm>
          <a:off x="6955109" y="4875228"/>
          <a:ext cx="4609010" cy="1542929"/>
        </p:xfrm>
        <a:graphic>
          <a:graphicData uri="http://schemas.openxmlformats.org/drawingml/2006/table">
            <a:tbl>
              <a:tblPr/>
              <a:tblGrid>
                <a:gridCol w="868398">
                  <a:extLst>
                    <a:ext uri="{9D8B030D-6E8A-4147-A177-3AD203B41FA5}">
                      <a16:colId xmlns:a16="http://schemas.microsoft.com/office/drawing/2014/main" val="2503568891"/>
                    </a:ext>
                  </a:extLst>
                </a:gridCol>
                <a:gridCol w="2663659">
                  <a:extLst>
                    <a:ext uri="{9D8B030D-6E8A-4147-A177-3AD203B41FA5}">
                      <a16:colId xmlns:a16="http://schemas.microsoft.com/office/drawing/2014/main" val="3626351811"/>
                    </a:ext>
                  </a:extLst>
                </a:gridCol>
                <a:gridCol w="1076953">
                  <a:extLst>
                    <a:ext uri="{9D8B030D-6E8A-4147-A177-3AD203B41FA5}">
                      <a16:colId xmlns:a16="http://schemas.microsoft.com/office/drawing/2014/main" val="2866999815"/>
                    </a:ext>
                  </a:extLst>
                </a:gridCol>
              </a:tblGrid>
              <a:tr h="226887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ameter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SJ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4787636"/>
                  </a:ext>
                </a:extLst>
              </a:tr>
              <a:tr h="20138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mary Increment Varianc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390162"/>
                  </a:ext>
                </a:extLst>
              </a:tr>
              <a:tr h="20138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</a:t>
                      </a:r>
                      <a:r>
                        <a:rPr lang="en-IN" sz="1200" b="0" i="0" u="none" strike="noStrike" baseline="-25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T</a:t>
                      </a:r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paration and testing varianc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9465952"/>
                  </a:ext>
                </a:extLst>
              </a:tr>
              <a:tr h="20138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 of increments per sub lot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70200"/>
                  </a:ext>
                </a:extLst>
              </a:tr>
              <a:tr h="20138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 of sublots in the lo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4006793"/>
                  </a:ext>
                </a:extLst>
              </a:tr>
              <a:tr h="510498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erall precision of sampling , sample preparation and testing for the lo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0728010"/>
                  </a:ext>
                </a:extLst>
              </a:tr>
            </a:tbl>
          </a:graphicData>
        </a:graphic>
      </p:graphicFrame>
      <p:pic>
        <p:nvPicPr>
          <p:cNvPr id="22" name="Picture 21">
            <a:extLst>
              <a:ext uri="{FF2B5EF4-FFF2-40B4-BE49-F238E27FC236}">
                <a16:creationId xmlns:a16="http://schemas.microsoft.com/office/drawing/2014/main" id="{8407C2DC-2395-04ED-5501-00B2E8CC0D6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9045" t="8574" r="17739" b="13769"/>
          <a:stretch/>
        </p:blipFill>
        <p:spPr>
          <a:xfrm>
            <a:off x="7691776" y="4123029"/>
            <a:ext cx="1256952" cy="732780"/>
          </a:xfrm>
          <a:prstGeom prst="rect">
            <a:avLst/>
          </a:prstGeom>
        </p:spPr>
      </p:pic>
      <p:sp>
        <p:nvSpPr>
          <p:cNvPr id="31" name="Action Button: Go Forward or Next 30">
            <a:hlinkClick r:id="rId10" action="ppaction://hlinksldjump" highlightClick="1"/>
            <a:extLst>
              <a:ext uri="{FF2B5EF4-FFF2-40B4-BE49-F238E27FC236}">
                <a16:creationId xmlns:a16="http://schemas.microsoft.com/office/drawing/2014/main" id="{BA768D46-7913-2CE9-5891-5FEEF5A4696B}"/>
              </a:ext>
            </a:extLst>
          </p:cNvPr>
          <p:cNvSpPr/>
          <p:nvPr/>
        </p:nvSpPr>
        <p:spPr>
          <a:xfrm>
            <a:off x="11211315" y="4925957"/>
            <a:ext cx="180008" cy="158572"/>
          </a:xfrm>
          <a:prstGeom prst="actionButtonForwardNex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3" name="Action Button: Go Forward or Next 32">
            <a:hlinkClick r:id="rId11" action="ppaction://hlinksldjump" highlightClick="1"/>
            <a:extLst>
              <a:ext uri="{FF2B5EF4-FFF2-40B4-BE49-F238E27FC236}">
                <a16:creationId xmlns:a16="http://schemas.microsoft.com/office/drawing/2014/main" id="{483EB3F4-7AC7-A4DD-DE36-C4DC590177AD}"/>
              </a:ext>
            </a:extLst>
          </p:cNvPr>
          <p:cNvSpPr/>
          <p:nvPr/>
        </p:nvSpPr>
        <p:spPr>
          <a:xfrm>
            <a:off x="8768720" y="4925957"/>
            <a:ext cx="180008" cy="158572"/>
          </a:xfrm>
          <a:prstGeom prst="actionButtonForwardNex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F6AE325-EB89-FE82-6E3F-A5CE1CB69F04}"/>
              </a:ext>
            </a:extLst>
          </p:cNvPr>
          <p:cNvCxnSpPr>
            <a:cxnSpLocks/>
          </p:cNvCxnSpPr>
          <p:nvPr/>
        </p:nvCxnSpPr>
        <p:spPr>
          <a:xfrm flipH="1">
            <a:off x="4235280" y="755777"/>
            <a:ext cx="63804" cy="6001159"/>
          </a:xfrm>
          <a:prstGeom prst="line">
            <a:avLst/>
          </a:prstGeom>
          <a:ln w="19050"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84B41712-FDE6-C05B-6C9E-3130D98B5726}"/>
              </a:ext>
            </a:extLst>
          </p:cNvPr>
          <p:cNvSpPr/>
          <p:nvPr/>
        </p:nvSpPr>
        <p:spPr>
          <a:xfrm>
            <a:off x="4336770" y="993722"/>
            <a:ext cx="3850024" cy="41637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 A:</a:t>
            </a:r>
            <a:r>
              <a:rPr lang="en-IN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 per IS-1350 (Old standard)</a:t>
            </a:r>
            <a:endParaRPr lang="en-US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3375D5C-940F-911F-E27F-A8D9BC48D949}"/>
              </a:ext>
            </a:extLst>
          </p:cNvPr>
          <p:cNvSpPr/>
          <p:nvPr/>
        </p:nvSpPr>
        <p:spPr>
          <a:xfrm>
            <a:off x="4267176" y="3745423"/>
            <a:ext cx="4040042" cy="41637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 defTabSz="914400">
              <a:lnSpc>
                <a:spcPct val="150000"/>
              </a:lnSpc>
              <a:defRPr/>
            </a:pPr>
            <a:r>
              <a:rPr lang="en-IN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 B: As per IS-16143 (New standard)</a:t>
            </a:r>
          </a:p>
          <a:p>
            <a:pPr marR="0" lvl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78898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4839A865-C82B-BDF5-B30B-C1C8B7FE312E}"/>
              </a:ext>
            </a:extLst>
          </p:cNvPr>
          <p:cNvSpPr txBox="1"/>
          <p:nvPr/>
        </p:nvSpPr>
        <p:spPr>
          <a:xfrm>
            <a:off x="147407" y="729626"/>
            <a:ext cx="3750553" cy="461664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IN" sz="1400" b="1" dirty="0">
                <a:latin typeface="Arial" panose="020B0604020202020204" pitchFamily="34" charset="0"/>
                <a:cs typeface="Arial" panose="020B0604020202020204" pitchFamily="34" charset="0"/>
              </a:rPr>
              <a:t>IS 16143 </a:t>
            </a: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prescribes how to design our process to achieve any required precision.</a:t>
            </a:r>
          </a:p>
          <a:p>
            <a:pPr algn="just"/>
            <a:endParaRPr lang="en-I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Basis our current process design, we have calculated the precision/tolerance value.</a:t>
            </a:r>
          </a:p>
          <a:p>
            <a:pPr algn="just"/>
            <a:endParaRPr lang="en-I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The Sc.Serv team has done the flight sample variation study across TSL labs and had submitted their findings in report attached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I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I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The report shows the actual </a:t>
            </a: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</a:t>
            </a:r>
            <a:r>
              <a:rPr kumimoji="0" lang="en-IN" sz="1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T</a:t>
            </a: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 value based on different coal grades basis Ash &amp; VM range. </a:t>
            </a:r>
          </a:p>
          <a:p>
            <a:pPr algn="just"/>
            <a:endParaRPr lang="en-I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n-I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The +/- 0.55 value was recalibrated for  different coal grades in next slides.                                                  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B78E73-CCA4-84B7-9D23-38120ECCA9C1}"/>
              </a:ext>
            </a:extLst>
          </p:cNvPr>
          <p:cNvSpPr txBox="1"/>
          <p:nvPr/>
        </p:nvSpPr>
        <p:spPr>
          <a:xfrm>
            <a:off x="4081414" y="1305742"/>
            <a:ext cx="2268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200" dirty="0">
                <a:latin typeface="Arial" panose="020B0604020202020204" pitchFamily="34" charset="0"/>
                <a:cs typeface="Arial" panose="020B0604020202020204" pitchFamily="34" charset="0"/>
              </a:rPr>
              <a:t>As suggested in  IS- 1614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200" dirty="0">
                <a:latin typeface="Arial" panose="020B0604020202020204" pitchFamily="34" charset="0"/>
                <a:cs typeface="Arial" panose="020B0604020202020204" pitchFamily="34" charset="0"/>
              </a:rPr>
              <a:t>+/- 0.55 at TSJ</a:t>
            </a: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6EEC0262-6478-8B6F-EE2F-80C2C5515516}"/>
              </a:ext>
            </a:extLst>
          </p:cNvPr>
          <p:cNvSpPr/>
          <p:nvPr/>
        </p:nvSpPr>
        <p:spPr>
          <a:xfrm>
            <a:off x="5369788" y="1636785"/>
            <a:ext cx="376773" cy="24829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E5A82E67-87AA-59B1-2B2C-A07371F729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4296743"/>
              </p:ext>
            </p:extLst>
          </p:nvPr>
        </p:nvGraphicFramePr>
        <p:xfrm>
          <a:off x="7260061" y="881068"/>
          <a:ext cx="4857579" cy="1401145"/>
        </p:xfrm>
        <a:graphic>
          <a:graphicData uri="http://schemas.openxmlformats.org/drawingml/2006/table">
            <a:tbl>
              <a:tblPr/>
              <a:tblGrid>
                <a:gridCol w="1055002">
                  <a:extLst>
                    <a:ext uri="{9D8B030D-6E8A-4147-A177-3AD203B41FA5}">
                      <a16:colId xmlns:a16="http://schemas.microsoft.com/office/drawing/2014/main" val="2503568891"/>
                    </a:ext>
                  </a:extLst>
                </a:gridCol>
                <a:gridCol w="2682533">
                  <a:extLst>
                    <a:ext uri="{9D8B030D-6E8A-4147-A177-3AD203B41FA5}">
                      <a16:colId xmlns:a16="http://schemas.microsoft.com/office/drawing/2014/main" val="3626351811"/>
                    </a:ext>
                  </a:extLst>
                </a:gridCol>
                <a:gridCol w="560022">
                  <a:extLst>
                    <a:ext uri="{9D8B030D-6E8A-4147-A177-3AD203B41FA5}">
                      <a16:colId xmlns:a16="http://schemas.microsoft.com/office/drawing/2014/main" val="2866999815"/>
                    </a:ext>
                  </a:extLst>
                </a:gridCol>
                <a:gridCol w="560022">
                  <a:extLst>
                    <a:ext uri="{9D8B030D-6E8A-4147-A177-3AD203B41FA5}">
                      <a16:colId xmlns:a16="http://schemas.microsoft.com/office/drawing/2014/main" val="3134310516"/>
                    </a:ext>
                  </a:extLst>
                </a:gridCol>
              </a:tblGrid>
              <a:tr h="20603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ameter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SJ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P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4787636"/>
                  </a:ext>
                </a:extLst>
              </a:tr>
              <a:tr h="180574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mary Increment Varianc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2390162"/>
                  </a:ext>
                </a:extLst>
              </a:tr>
              <a:tr h="180574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</a:t>
                      </a:r>
                      <a:r>
                        <a:rPr lang="en-IN" sz="1200" b="0" i="0" u="none" strike="noStrike" baseline="-25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T</a:t>
                      </a:r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paration and testing varianc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9465952"/>
                  </a:ext>
                </a:extLst>
              </a:tr>
              <a:tr h="180574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 of increments per sub lot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3070200"/>
                  </a:ext>
                </a:extLst>
              </a:tr>
              <a:tr h="180574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 of sublots in the lo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4006793"/>
                  </a:ext>
                </a:extLst>
              </a:tr>
              <a:tr h="4635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erall precision of sampling , sample preparation and testing for the lo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0728010"/>
                  </a:ext>
                </a:extLst>
              </a:tr>
            </a:tbl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642ACB91-D5C6-DC8C-0027-87D00381D05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045" t="8574" r="17739" b="13769"/>
          <a:stretch/>
        </p:blipFill>
        <p:spPr>
          <a:xfrm>
            <a:off x="5871391" y="1422023"/>
            <a:ext cx="1141446" cy="665443"/>
          </a:xfrm>
          <a:prstGeom prst="rect">
            <a:avLst/>
          </a:prstGeom>
        </p:spPr>
      </p:pic>
      <p:sp>
        <p:nvSpPr>
          <p:cNvPr id="17" name="Action Button: Go Forward or Next 16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id="{FE555495-0011-EB8D-AAFE-36AE49049A65}"/>
              </a:ext>
            </a:extLst>
          </p:cNvPr>
          <p:cNvSpPr/>
          <p:nvPr/>
        </p:nvSpPr>
        <p:spPr>
          <a:xfrm>
            <a:off x="11346350" y="944419"/>
            <a:ext cx="132162" cy="109841"/>
          </a:xfrm>
          <a:prstGeom prst="actionButtonForwardNex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Action Button: Go Forward or Next 17">
            <a:hlinkClick r:id="rId4" action="ppaction://hlinksldjump" highlightClick="1"/>
            <a:extLst>
              <a:ext uri="{FF2B5EF4-FFF2-40B4-BE49-F238E27FC236}">
                <a16:creationId xmlns:a16="http://schemas.microsoft.com/office/drawing/2014/main" id="{8EF0A93D-47FE-1318-CDED-E07A94527DF8}"/>
              </a:ext>
            </a:extLst>
          </p:cNvPr>
          <p:cNvSpPr/>
          <p:nvPr/>
        </p:nvSpPr>
        <p:spPr>
          <a:xfrm>
            <a:off x="8012667" y="1298321"/>
            <a:ext cx="132162" cy="109841"/>
          </a:xfrm>
          <a:prstGeom prst="actionButtonForwardNex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21ECBDC-932C-F02B-C6F0-BCC850B389DC}"/>
              </a:ext>
            </a:extLst>
          </p:cNvPr>
          <p:cNvSpPr/>
          <p:nvPr/>
        </p:nvSpPr>
        <p:spPr>
          <a:xfrm>
            <a:off x="4002885" y="716409"/>
            <a:ext cx="2544701" cy="3781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 defTabSz="914400">
              <a:lnSpc>
                <a:spcPct val="150000"/>
              </a:lnSpc>
              <a:defRPr/>
            </a:pPr>
            <a:r>
              <a:rPr lang="en-IN"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 B: As per IS-16143</a:t>
            </a:r>
          </a:p>
          <a:p>
            <a:pPr marR="0" lvl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6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0" name="Object 19">
            <a:extLst>
              <a:ext uri="{FF2B5EF4-FFF2-40B4-BE49-F238E27FC236}">
                <a16:creationId xmlns:a16="http://schemas.microsoft.com/office/drawing/2014/main" id="{1FAE1877-2310-6CE5-B8F4-E840A3705DC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74671381"/>
              </p:ext>
            </p:extLst>
          </p:nvPr>
        </p:nvGraphicFramePr>
        <p:xfrm>
          <a:off x="1321346" y="4263648"/>
          <a:ext cx="9144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5" imgW="914400" imgH="806400" progId="AcroExch.Document.DC">
                  <p:embed/>
                </p:oleObj>
              </mc:Choice>
              <mc:Fallback>
                <p:oleObj name="Acrobat Document" showAsIcon="1" r:id="rId5" imgW="914400" imgH="806400" progId="AcroExch.Document.DC">
                  <p:embed/>
                  <p:pic>
                    <p:nvPicPr>
                      <p:cNvPr id="20" name="Object 19">
                        <a:extLst>
                          <a:ext uri="{FF2B5EF4-FFF2-40B4-BE49-F238E27FC236}">
                            <a16:creationId xmlns:a16="http://schemas.microsoft.com/office/drawing/2014/main" id="{1FAE1877-2310-6CE5-B8F4-E840A3705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21346" y="4263648"/>
                        <a:ext cx="9144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58523D04-CA2D-000A-7276-66EE3C19647F}"/>
              </a:ext>
            </a:extLst>
          </p:cNvPr>
          <p:cNvSpPr txBox="1"/>
          <p:nvPr/>
        </p:nvSpPr>
        <p:spPr>
          <a:xfrm>
            <a:off x="223520" y="203200"/>
            <a:ext cx="118867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y for determination of tolerance in reported coal ash - Backup</a:t>
            </a: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502BEBCC-7F5F-B177-9AA6-4F93FABBB878}"/>
              </a:ext>
            </a:extLst>
          </p:cNvPr>
          <p:cNvSpPr/>
          <p:nvPr/>
        </p:nvSpPr>
        <p:spPr>
          <a:xfrm>
            <a:off x="6911597" y="1622298"/>
            <a:ext cx="376773" cy="24193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/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C93A99DA-07AE-3DF3-6322-DF997636C16F}"/>
              </a:ext>
            </a:extLst>
          </p:cNvPr>
          <p:cNvGrpSpPr/>
          <p:nvPr/>
        </p:nvGrpSpPr>
        <p:grpSpPr>
          <a:xfrm>
            <a:off x="3897960" y="2433724"/>
            <a:ext cx="7978228" cy="4004579"/>
            <a:chOff x="-515537" y="1662461"/>
            <a:chExt cx="12224424" cy="4414660"/>
          </a:xfrm>
        </p:grpSpPr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632D5010-ED3D-3920-E3F7-E824ABEDE6A0}"/>
                </a:ext>
              </a:extLst>
            </p:cNvPr>
            <p:cNvCxnSpPr>
              <a:cxnSpLocks/>
            </p:cNvCxnSpPr>
            <p:nvPr/>
          </p:nvCxnSpPr>
          <p:spPr>
            <a:xfrm>
              <a:off x="1251857" y="2699657"/>
              <a:ext cx="4304569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9" name="Straight Arrow Connector 68">
              <a:extLst>
                <a:ext uri="{FF2B5EF4-FFF2-40B4-BE49-F238E27FC236}">
                  <a16:creationId xmlns:a16="http://schemas.microsoft.com/office/drawing/2014/main" id="{87FE9D81-BDC2-B141-54CE-EB68C9BA40BC}"/>
                </a:ext>
              </a:extLst>
            </p:cNvPr>
            <p:cNvCxnSpPr>
              <a:cxnSpLocks/>
            </p:cNvCxnSpPr>
            <p:nvPr/>
          </p:nvCxnSpPr>
          <p:spPr>
            <a:xfrm>
              <a:off x="3776130" y="1915887"/>
              <a:ext cx="1447799" cy="78377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0" name="Straight Arrow Connector 69">
              <a:extLst>
                <a:ext uri="{FF2B5EF4-FFF2-40B4-BE49-F238E27FC236}">
                  <a16:creationId xmlns:a16="http://schemas.microsoft.com/office/drawing/2014/main" id="{754425AC-B2C1-0FB7-FA8A-00844FCBD7DA}"/>
                </a:ext>
              </a:extLst>
            </p:cNvPr>
            <p:cNvCxnSpPr>
              <a:cxnSpLocks/>
            </p:cNvCxnSpPr>
            <p:nvPr/>
          </p:nvCxnSpPr>
          <p:spPr>
            <a:xfrm>
              <a:off x="1556658" y="1915887"/>
              <a:ext cx="1447799" cy="78377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1" name="Straight Arrow Connector 70">
              <a:extLst>
                <a:ext uri="{FF2B5EF4-FFF2-40B4-BE49-F238E27FC236}">
                  <a16:creationId xmlns:a16="http://schemas.microsoft.com/office/drawing/2014/main" id="{A1656084-4204-EC18-3444-E64546F6B0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0857" y="2699657"/>
              <a:ext cx="1447800" cy="78377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2" name="Straight Arrow Connector 71">
              <a:extLst>
                <a:ext uri="{FF2B5EF4-FFF2-40B4-BE49-F238E27FC236}">
                  <a16:creationId xmlns:a16="http://schemas.microsoft.com/office/drawing/2014/main" id="{C5CC3D69-0989-C2E2-0126-A953F69CB0F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23457" y="2699657"/>
              <a:ext cx="1371600" cy="87085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85029B03-ECDB-6647-8207-261076C07D92}"/>
                </a:ext>
              </a:extLst>
            </p:cNvPr>
            <p:cNvSpPr txBox="1"/>
            <p:nvPr/>
          </p:nvSpPr>
          <p:spPr>
            <a:xfrm>
              <a:off x="5552406" y="2552611"/>
              <a:ext cx="1658820" cy="47501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IN" sz="1100" dirty="0">
                  <a:latin typeface="Arial" panose="020B0604020202020204" pitchFamily="34" charset="0"/>
                  <a:cs typeface="Arial" panose="020B0604020202020204" pitchFamily="34" charset="0"/>
                </a:rPr>
                <a:t>Precision</a:t>
              </a:r>
            </a:p>
            <a:p>
              <a:r>
                <a:rPr lang="en-IN" sz="1100" dirty="0">
                  <a:latin typeface="Arial" panose="020B0604020202020204" pitchFamily="34" charset="0"/>
                  <a:cs typeface="Arial" panose="020B0604020202020204" pitchFamily="34" charset="0"/>
                </a:rPr>
                <a:t>    (*P</a:t>
              </a:r>
              <a:r>
                <a:rPr lang="en-IN" sz="1100" baseline="-25000" dirty="0">
                  <a:latin typeface="Arial" panose="020B0604020202020204" pitchFamily="34" charset="0"/>
                  <a:cs typeface="Arial" panose="020B0604020202020204" pitchFamily="34" charset="0"/>
                </a:rPr>
                <a:t>L</a:t>
              </a:r>
              <a:r>
                <a:rPr lang="en-IN" sz="110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F833C6CD-2262-74F4-7079-D0FFC49CE36A}"/>
                </a:ext>
              </a:extLst>
            </p:cNvPr>
            <p:cNvSpPr txBox="1"/>
            <p:nvPr/>
          </p:nvSpPr>
          <p:spPr>
            <a:xfrm>
              <a:off x="-22966" y="1662461"/>
              <a:ext cx="3475216" cy="2884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100" dirty="0">
                  <a:latin typeface="Arial" panose="020B0604020202020204" pitchFamily="34" charset="0"/>
                  <a:cs typeface="Arial" panose="020B0604020202020204" pitchFamily="34" charset="0"/>
                </a:rPr>
                <a:t>Primary increment variance(</a:t>
              </a:r>
              <a:r>
                <a:rPr lang="en-IN" sz="1100" dirty="0"/>
                <a:t>V</a:t>
              </a:r>
              <a:r>
                <a:rPr lang="en-IN" sz="1100" baseline="-25000" dirty="0"/>
                <a:t>1</a:t>
              </a:r>
              <a:r>
                <a:rPr lang="en-IN" sz="110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78F5BD58-1B32-F43B-C202-1E9A22A21DD0}"/>
                </a:ext>
              </a:extLst>
            </p:cNvPr>
            <p:cNvSpPr txBox="1"/>
            <p:nvPr/>
          </p:nvSpPr>
          <p:spPr>
            <a:xfrm>
              <a:off x="3309257" y="1666419"/>
              <a:ext cx="3967579" cy="2884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100" dirty="0">
                  <a:latin typeface="Arial" panose="020B0604020202020204" pitchFamily="34" charset="0"/>
                  <a:cs typeface="Arial" panose="020B0604020202020204" pitchFamily="34" charset="0"/>
                </a:rPr>
                <a:t>Preparation &amp; testing variance(</a:t>
              </a:r>
              <a:r>
                <a:rPr lang="en-IN" sz="1100" dirty="0"/>
                <a:t>V</a:t>
              </a:r>
              <a:r>
                <a:rPr lang="en-IN" sz="1100" baseline="-25000" dirty="0"/>
                <a:t>PT</a:t>
              </a:r>
              <a:r>
                <a:rPr lang="en-IN" sz="110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D37D504F-B680-CD85-3173-5251B09DEF54}"/>
                </a:ext>
              </a:extLst>
            </p:cNvPr>
            <p:cNvSpPr txBox="1"/>
            <p:nvPr/>
          </p:nvSpPr>
          <p:spPr>
            <a:xfrm>
              <a:off x="2336499" y="3592458"/>
              <a:ext cx="2684929" cy="2884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100" dirty="0">
                  <a:latin typeface="Arial" panose="020B0604020202020204" pitchFamily="34" charset="0"/>
                  <a:cs typeface="Arial" panose="020B0604020202020204" pitchFamily="34" charset="0"/>
                </a:rPr>
                <a:t>No of sublots in a lot (m)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607D6BC8-ED50-76D6-CE38-EF602B981265}"/>
                </a:ext>
              </a:extLst>
            </p:cNvPr>
            <p:cNvSpPr txBox="1"/>
            <p:nvPr/>
          </p:nvSpPr>
          <p:spPr>
            <a:xfrm>
              <a:off x="-515537" y="3588447"/>
              <a:ext cx="2834194" cy="4934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100" dirty="0">
                  <a:latin typeface="Arial" panose="020B0604020202020204" pitchFamily="34" charset="0"/>
                  <a:cs typeface="Arial" panose="020B0604020202020204" pitchFamily="34" charset="0"/>
                </a:rPr>
                <a:t>No of increments per sublots (n)</a:t>
              </a: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AAB06542-4761-A284-8E43-ADCCF5890E29}"/>
                </a:ext>
              </a:extLst>
            </p:cNvPr>
            <p:cNvGrpSpPr/>
            <p:nvPr/>
          </p:nvGrpSpPr>
          <p:grpSpPr>
            <a:xfrm>
              <a:off x="19478" y="2132267"/>
              <a:ext cx="11689409" cy="3944854"/>
              <a:chOff x="19478" y="2132267"/>
              <a:chExt cx="11689409" cy="3944854"/>
            </a:xfrm>
          </p:grpSpPr>
          <p:pic>
            <p:nvPicPr>
              <p:cNvPr id="79" name="Picture 78">
                <a:extLst>
                  <a:ext uri="{FF2B5EF4-FFF2-40B4-BE49-F238E27FC236}">
                    <a16:creationId xmlns:a16="http://schemas.microsoft.com/office/drawing/2014/main" id="{303DB539-7271-2D34-12E8-47F2DD61F38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l="19045" t="8574" r="17739" b="13769"/>
              <a:stretch/>
            </p:blipFill>
            <p:spPr>
              <a:xfrm>
                <a:off x="6878729" y="2132267"/>
                <a:ext cx="2328016" cy="909107"/>
              </a:xfrm>
              <a:prstGeom prst="rect">
                <a:avLst/>
              </a:prstGeom>
            </p:spPr>
          </p:pic>
          <p:cxnSp>
            <p:nvCxnSpPr>
              <p:cNvPr id="80" name="Straight Arrow Connector 79">
                <a:extLst>
                  <a:ext uri="{FF2B5EF4-FFF2-40B4-BE49-F238E27FC236}">
                    <a16:creationId xmlns:a16="http://schemas.microsoft.com/office/drawing/2014/main" id="{C1E38080-94B9-9767-A38E-2B17C15951C7}"/>
                  </a:ext>
                </a:extLst>
              </p:cNvPr>
              <p:cNvCxnSpPr>
                <a:cxnSpLocks/>
                <a:stCxn id="89" idx="2"/>
                <a:endCxn id="84" idx="0"/>
              </p:cNvCxnSpPr>
              <p:nvPr/>
            </p:nvCxnSpPr>
            <p:spPr>
              <a:xfrm>
                <a:off x="8672914" y="2585285"/>
                <a:ext cx="1495270" cy="2666322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1" name="Straight Arrow Connector 80">
                <a:extLst>
                  <a:ext uri="{FF2B5EF4-FFF2-40B4-BE49-F238E27FC236}">
                    <a16:creationId xmlns:a16="http://schemas.microsoft.com/office/drawing/2014/main" id="{76F28FA0-1F3B-A9C3-A921-F9605A73633A}"/>
                  </a:ext>
                </a:extLst>
              </p:cNvPr>
              <p:cNvCxnSpPr>
                <a:cxnSpLocks/>
                <a:stCxn id="87" idx="2"/>
                <a:endCxn id="85" idx="0"/>
              </p:cNvCxnSpPr>
              <p:nvPr/>
            </p:nvCxnSpPr>
            <p:spPr>
              <a:xfrm flipH="1">
                <a:off x="6376919" y="2996974"/>
                <a:ext cx="1980481" cy="2254636"/>
              </a:xfrm>
              <a:prstGeom prst="straightConnector1">
                <a:avLst/>
              </a:prstGeom>
              <a:ln>
                <a:solidFill>
                  <a:srgbClr val="4F81BD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Arrow Connector 81">
                <a:extLst>
                  <a:ext uri="{FF2B5EF4-FFF2-40B4-BE49-F238E27FC236}">
                    <a16:creationId xmlns:a16="http://schemas.microsoft.com/office/drawing/2014/main" id="{7C7E3610-1364-C96F-FDAF-2A37D05D3FD3}"/>
                  </a:ext>
                </a:extLst>
              </p:cNvPr>
              <p:cNvCxnSpPr>
                <a:cxnSpLocks/>
                <a:stCxn id="88" idx="2"/>
                <a:endCxn id="86" idx="0"/>
              </p:cNvCxnSpPr>
              <p:nvPr/>
            </p:nvCxnSpPr>
            <p:spPr>
              <a:xfrm flipH="1">
                <a:off x="2072917" y="2730716"/>
                <a:ext cx="5992863" cy="2532099"/>
              </a:xfrm>
              <a:prstGeom prst="straightConnector1">
                <a:avLst/>
              </a:prstGeom>
              <a:ln>
                <a:solidFill>
                  <a:srgbClr val="808000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D80167FD-F7B5-C2CE-8D56-3B73278D28DB}"/>
                  </a:ext>
                </a:extLst>
              </p:cNvPr>
              <p:cNvSpPr txBox="1"/>
              <p:nvPr/>
            </p:nvSpPr>
            <p:spPr>
              <a:xfrm>
                <a:off x="3004458" y="4142663"/>
                <a:ext cx="8704429" cy="477878"/>
              </a:xfrm>
              <a:prstGeom prst="rect">
                <a:avLst/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11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*To improve the precision</a:t>
                </a:r>
              </a:p>
              <a:p>
                <a:r>
                  <a:rPr lang="en-IN" sz="1100" dirty="0">
                    <a:latin typeface="Arial" panose="020B0604020202020204" pitchFamily="34" charset="0"/>
                    <a:cs typeface="Arial" panose="020B0604020202020204" pitchFamily="34" charset="0"/>
                  </a:rPr>
                  <a:t>Standardization of sample collection, preparation and testing methods is to be done</a:t>
                </a:r>
              </a:p>
            </p:txBody>
          </p:sp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EED402A9-854A-FC7C-1259-674D87B1DAC1}"/>
                  </a:ext>
                </a:extLst>
              </p:cNvPr>
              <p:cNvSpPr txBox="1"/>
              <p:nvPr/>
            </p:nvSpPr>
            <p:spPr>
              <a:xfrm>
                <a:off x="8627482" y="5251608"/>
                <a:ext cx="3081405" cy="814305"/>
              </a:xfrm>
              <a:prstGeom prst="rect">
                <a:avLst/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en-IN" sz="1050" b="1" dirty="0">
                    <a:solidFill>
                      <a:schemeClr val="tx1"/>
                    </a:solidFill>
                    <a:highlight>
                      <a:srgbClr val="CA6D6A"/>
                    </a:highlight>
                    <a:latin typeface="Arial" panose="020B0604020202020204" pitchFamily="34" charset="0"/>
                    <a:cs typeface="Arial" panose="020B0604020202020204" pitchFamily="34" charset="0"/>
                  </a:rPr>
                  <a:t>Case 3: </a:t>
                </a:r>
                <a:r>
                  <a:rPr lang="en-IN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If we reduce the *V</a:t>
                </a:r>
                <a:r>
                  <a:rPr lang="en-IN" sz="1050" baseline="-25000" dirty="0">
                    <a:latin typeface="Arial" panose="020B0604020202020204" pitchFamily="34" charset="0"/>
                    <a:cs typeface="Arial" panose="020B0604020202020204" pitchFamily="34" charset="0"/>
                  </a:rPr>
                  <a:t>PT</a:t>
                </a:r>
                <a:r>
                  <a:rPr lang="en-IN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 from 0.2</a:t>
                </a:r>
                <a:r>
                  <a:rPr lang="en-IN" sz="1050" dirty="0">
                    <a:latin typeface="Arial" panose="020B0604020202020204" pitchFamily="34" charset="0"/>
                    <a:cs typeface="Arial" panose="020B0604020202020204" pitchFamily="34" charset="0"/>
                    <a:sym typeface="Wingdings" panose="05000000000000000000" pitchFamily="2" charset="2"/>
                  </a:rPr>
                  <a:t></a:t>
                </a:r>
                <a:r>
                  <a:rPr lang="en-IN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 0.10 the tolerance can be reduced to +/-0.48 </a:t>
                </a:r>
              </a:p>
              <a:p>
                <a:endParaRPr lang="en-IN" sz="10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6A8E7709-25D7-EE92-4DED-D4DCC61AFFCF}"/>
                  </a:ext>
                </a:extLst>
              </p:cNvPr>
              <p:cNvSpPr txBox="1"/>
              <p:nvPr/>
            </p:nvSpPr>
            <p:spPr>
              <a:xfrm>
                <a:off x="4201763" y="5251610"/>
                <a:ext cx="4350311" cy="814305"/>
              </a:xfrm>
              <a:prstGeom prst="rect">
                <a:avLst/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en-IN" sz="1050" b="1" dirty="0">
                    <a:highlight>
                      <a:srgbClr val="4F81BD"/>
                    </a:highlight>
                    <a:latin typeface="Arial" panose="020B0604020202020204" pitchFamily="34" charset="0"/>
                    <a:cs typeface="Arial" panose="020B0604020202020204" pitchFamily="34" charset="0"/>
                  </a:rPr>
                  <a:t>Case:2 </a:t>
                </a:r>
                <a:r>
                  <a:rPr lang="en-IN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If we increasing the *no of sublot to 8</a:t>
                </a:r>
                <a:r>
                  <a:rPr lang="en-IN" sz="1050" dirty="0">
                    <a:latin typeface="Arial" panose="020B0604020202020204" pitchFamily="34" charset="0"/>
                    <a:cs typeface="Arial" panose="020B0604020202020204" pitchFamily="34" charset="0"/>
                    <a:sym typeface="Wingdings" panose="05000000000000000000" pitchFamily="2" charset="2"/>
                  </a:rPr>
                  <a:t>’m value’</a:t>
                </a:r>
                <a:r>
                  <a:rPr lang="en-IN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 keeping V</a:t>
                </a:r>
                <a:r>
                  <a:rPr lang="en-IN" sz="1050" baseline="-25000" dirty="0">
                    <a:latin typeface="Arial" panose="020B0604020202020204" pitchFamily="34" charset="0"/>
                    <a:cs typeface="Arial" panose="020B0604020202020204" pitchFamily="34" charset="0"/>
                  </a:rPr>
                  <a:t>PT</a:t>
                </a:r>
                <a:r>
                  <a:rPr lang="en-IN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 at 0.2, the tolerance can be reduced to +/-0.48</a:t>
                </a:r>
              </a:p>
              <a:p>
                <a:endParaRPr lang="en-IN" sz="10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ECCAE4D4-AF1B-3746-9ED4-E79612D41FCC}"/>
                  </a:ext>
                </a:extLst>
              </p:cNvPr>
              <p:cNvSpPr txBox="1"/>
              <p:nvPr/>
            </p:nvSpPr>
            <p:spPr>
              <a:xfrm>
                <a:off x="19478" y="5262816"/>
                <a:ext cx="4106879" cy="814305"/>
              </a:xfrm>
              <a:prstGeom prst="rect">
                <a:avLst/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en-IN" sz="1050" b="1" dirty="0">
                    <a:highlight>
                      <a:srgbClr val="808000"/>
                    </a:highlight>
                    <a:latin typeface="Arial" panose="020B0604020202020204" pitchFamily="34" charset="0"/>
                    <a:cs typeface="Arial" panose="020B0604020202020204" pitchFamily="34" charset="0"/>
                  </a:rPr>
                  <a:t>Case:1</a:t>
                </a:r>
                <a:r>
                  <a:rPr lang="en-IN" sz="1050" dirty="0">
                    <a:highlight>
                      <a:srgbClr val="808000"/>
                    </a:highlight>
                    <a:latin typeface="Arial" panose="020B0604020202020204" pitchFamily="34" charset="0"/>
                    <a:cs typeface="Arial" panose="020B0604020202020204" pitchFamily="34" charset="0"/>
                  </a:rPr>
                  <a:t>  </a:t>
                </a:r>
                <a:r>
                  <a:rPr lang="en-IN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If Increasing the *no of increments per sublots from 12 to 20 the tolerance can be reduced to  +/-0.48 keeping others constant </a:t>
                </a:r>
              </a:p>
            </p:txBody>
          </p:sp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6FA944D2-DEE4-F54E-DBC3-E88D866FF8D4}"/>
                  </a:ext>
                </a:extLst>
              </p:cNvPr>
              <p:cNvSpPr txBox="1"/>
              <p:nvPr/>
            </p:nvSpPr>
            <p:spPr>
              <a:xfrm>
                <a:off x="8104338" y="2775117"/>
                <a:ext cx="506123" cy="221857"/>
              </a:xfrm>
              <a:prstGeom prst="rect">
                <a:avLst/>
              </a:prstGeom>
              <a:noFill/>
              <a:ln w="19050">
                <a:solidFill>
                  <a:srgbClr val="4F81BD"/>
                </a:solidFill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endParaRPr lang="en-IN" dirty="0"/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6D77E93A-A78C-1FE9-FCC2-0D8C48BFB7E1}"/>
                  </a:ext>
                </a:extLst>
              </p:cNvPr>
              <p:cNvSpPr txBox="1"/>
              <p:nvPr/>
            </p:nvSpPr>
            <p:spPr>
              <a:xfrm>
                <a:off x="7869511" y="2520605"/>
                <a:ext cx="392537" cy="210111"/>
              </a:xfrm>
              <a:prstGeom prst="rect">
                <a:avLst/>
              </a:prstGeom>
              <a:noFill/>
              <a:ln w="19050">
                <a:solidFill>
                  <a:srgbClr val="808000"/>
                </a:solidFill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endParaRPr lang="en-IN" dirty="0"/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ACE530FC-2AD9-2C12-D0B5-336D62119A23}"/>
                  </a:ext>
                </a:extLst>
              </p:cNvPr>
              <p:cNvSpPr txBox="1"/>
              <p:nvPr/>
            </p:nvSpPr>
            <p:spPr>
              <a:xfrm>
                <a:off x="8419852" y="2363428"/>
                <a:ext cx="506122" cy="221857"/>
              </a:xfrm>
              <a:prstGeom prst="rect">
                <a:avLst/>
              </a:prstGeom>
              <a:noFill/>
              <a:ln w="19050">
                <a:solidFill>
                  <a:srgbClr val="C25653"/>
                </a:solidFill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endParaRPr lang="en-IN" dirty="0"/>
              </a:p>
            </p:txBody>
          </p:sp>
        </p:grpSp>
      </p:grpSp>
      <p:sp>
        <p:nvSpPr>
          <p:cNvPr id="146" name="Arrow: Right 145">
            <a:extLst>
              <a:ext uri="{FF2B5EF4-FFF2-40B4-BE49-F238E27FC236}">
                <a16:creationId xmlns:a16="http://schemas.microsoft.com/office/drawing/2014/main" id="{FC416E67-06FF-BBC4-9B4A-E47F4CF10A35}"/>
              </a:ext>
            </a:extLst>
          </p:cNvPr>
          <p:cNvSpPr/>
          <p:nvPr/>
        </p:nvSpPr>
        <p:spPr>
          <a:xfrm rot="5400000">
            <a:off x="5857663" y="2086279"/>
            <a:ext cx="390488" cy="24824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Action Button: Go Forward or Next 1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id="{1A8368BF-4B8D-FC6D-420E-4EFED6218288}"/>
              </a:ext>
            </a:extLst>
          </p:cNvPr>
          <p:cNvSpPr/>
          <p:nvPr/>
        </p:nvSpPr>
        <p:spPr>
          <a:xfrm>
            <a:off x="11937674" y="944419"/>
            <a:ext cx="132162" cy="109841"/>
          </a:xfrm>
          <a:prstGeom prst="actionButtonForwardNex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78F8945E-2C9A-0D8E-8B15-0B1E011354FA}"/>
              </a:ext>
            </a:extLst>
          </p:cNvPr>
          <p:cNvCxnSpPr/>
          <p:nvPr/>
        </p:nvCxnSpPr>
        <p:spPr>
          <a:xfrm>
            <a:off x="11876188" y="2300686"/>
            <a:ext cx="0" cy="3809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4E6D98A0-115F-B9CE-4F49-393DAE2EBE7B}"/>
              </a:ext>
            </a:extLst>
          </p:cNvPr>
          <p:cNvSpPr txBox="1"/>
          <p:nvPr/>
        </p:nvSpPr>
        <p:spPr>
          <a:xfrm>
            <a:off x="11189056" y="2647210"/>
            <a:ext cx="11154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b="1" dirty="0">
                <a:latin typeface="Arial" panose="020B0604020202020204" pitchFamily="34" charset="0"/>
                <a:cs typeface="Arial" panose="020B0604020202020204" pitchFamily="34" charset="0"/>
              </a:rPr>
              <a:t>Aspirational target</a:t>
            </a:r>
          </a:p>
        </p:txBody>
      </p:sp>
    </p:spTree>
    <p:extLst>
      <p:ext uri="{BB962C8B-B14F-4D97-AF65-F5344CB8AC3E}">
        <p14:creationId xmlns:p14="http://schemas.microsoft.com/office/powerpoint/2010/main" val="11884339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2CB22763-E31F-C544-7D64-3B8B7B4EB33E}"/>
              </a:ext>
            </a:extLst>
          </p:cNvPr>
          <p:cNvGraphicFramePr>
            <a:graphicFrameLocks noGrp="1"/>
          </p:cNvGraphicFramePr>
          <p:nvPr/>
        </p:nvGraphicFramePr>
        <p:xfrm>
          <a:off x="335281" y="741681"/>
          <a:ext cx="11521441" cy="3490075"/>
        </p:xfrm>
        <a:graphic>
          <a:graphicData uri="http://schemas.openxmlformats.org/drawingml/2006/table">
            <a:tbl>
              <a:tblPr/>
              <a:tblGrid>
                <a:gridCol w="650022">
                  <a:extLst>
                    <a:ext uri="{9D8B030D-6E8A-4147-A177-3AD203B41FA5}">
                      <a16:colId xmlns:a16="http://schemas.microsoft.com/office/drawing/2014/main" val="239530367"/>
                    </a:ext>
                  </a:extLst>
                </a:gridCol>
                <a:gridCol w="650022">
                  <a:extLst>
                    <a:ext uri="{9D8B030D-6E8A-4147-A177-3AD203B41FA5}">
                      <a16:colId xmlns:a16="http://schemas.microsoft.com/office/drawing/2014/main" val="1001850137"/>
                    </a:ext>
                  </a:extLst>
                </a:gridCol>
                <a:gridCol w="355481">
                  <a:extLst>
                    <a:ext uri="{9D8B030D-6E8A-4147-A177-3AD203B41FA5}">
                      <a16:colId xmlns:a16="http://schemas.microsoft.com/office/drawing/2014/main" val="3275024320"/>
                    </a:ext>
                  </a:extLst>
                </a:gridCol>
                <a:gridCol w="650022">
                  <a:extLst>
                    <a:ext uri="{9D8B030D-6E8A-4147-A177-3AD203B41FA5}">
                      <a16:colId xmlns:a16="http://schemas.microsoft.com/office/drawing/2014/main" val="3118152538"/>
                    </a:ext>
                  </a:extLst>
                </a:gridCol>
                <a:gridCol w="670335">
                  <a:extLst>
                    <a:ext uri="{9D8B030D-6E8A-4147-A177-3AD203B41FA5}">
                      <a16:colId xmlns:a16="http://schemas.microsoft.com/office/drawing/2014/main" val="2535667901"/>
                    </a:ext>
                  </a:extLst>
                </a:gridCol>
                <a:gridCol w="589081">
                  <a:extLst>
                    <a:ext uri="{9D8B030D-6E8A-4147-A177-3AD203B41FA5}">
                      <a16:colId xmlns:a16="http://schemas.microsoft.com/office/drawing/2014/main" val="2303749201"/>
                    </a:ext>
                  </a:extLst>
                </a:gridCol>
                <a:gridCol w="629708">
                  <a:extLst>
                    <a:ext uri="{9D8B030D-6E8A-4147-A177-3AD203B41FA5}">
                      <a16:colId xmlns:a16="http://schemas.microsoft.com/office/drawing/2014/main" val="669451659"/>
                    </a:ext>
                  </a:extLst>
                </a:gridCol>
                <a:gridCol w="812527">
                  <a:extLst>
                    <a:ext uri="{9D8B030D-6E8A-4147-A177-3AD203B41FA5}">
                      <a16:colId xmlns:a16="http://schemas.microsoft.com/office/drawing/2014/main" val="2641124686"/>
                    </a:ext>
                  </a:extLst>
                </a:gridCol>
                <a:gridCol w="690648">
                  <a:extLst>
                    <a:ext uri="{9D8B030D-6E8A-4147-A177-3AD203B41FA5}">
                      <a16:colId xmlns:a16="http://schemas.microsoft.com/office/drawing/2014/main" val="2061782334"/>
                    </a:ext>
                  </a:extLst>
                </a:gridCol>
                <a:gridCol w="812527">
                  <a:extLst>
                    <a:ext uri="{9D8B030D-6E8A-4147-A177-3AD203B41FA5}">
                      <a16:colId xmlns:a16="http://schemas.microsoft.com/office/drawing/2014/main" val="2784946235"/>
                    </a:ext>
                  </a:extLst>
                </a:gridCol>
                <a:gridCol w="690648">
                  <a:extLst>
                    <a:ext uri="{9D8B030D-6E8A-4147-A177-3AD203B41FA5}">
                      <a16:colId xmlns:a16="http://schemas.microsoft.com/office/drawing/2014/main" val="4020900762"/>
                    </a:ext>
                  </a:extLst>
                </a:gridCol>
                <a:gridCol w="670335">
                  <a:extLst>
                    <a:ext uri="{9D8B030D-6E8A-4147-A177-3AD203B41FA5}">
                      <a16:colId xmlns:a16="http://schemas.microsoft.com/office/drawing/2014/main" val="3406482593"/>
                    </a:ext>
                  </a:extLst>
                </a:gridCol>
                <a:gridCol w="487516">
                  <a:extLst>
                    <a:ext uri="{9D8B030D-6E8A-4147-A177-3AD203B41FA5}">
                      <a16:colId xmlns:a16="http://schemas.microsoft.com/office/drawing/2014/main" val="1692367245"/>
                    </a:ext>
                  </a:extLst>
                </a:gridCol>
                <a:gridCol w="548455">
                  <a:extLst>
                    <a:ext uri="{9D8B030D-6E8A-4147-A177-3AD203B41FA5}">
                      <a16:colId xmlns:a16="http://schemas.microsoft.com/office/drawing/2014/main" val="118124046"/>
                    </a:ext>
                  </a:extLst>
                </a:gridCol>
                <a:gridCol w="487516">
                  <a:extLst>
                    <a:ext uri="{9D8B030D-6E8A-4147-A177-3AD203B41FA5}">
                      <a16:colId xmlns:a16="http://schemas.microsoft.com/office/drawing/2014/main" val="101930810"/>
                    </a:ext>
                  </a:extLst>
                </a:gridCol>
                <a:gridCol w="409556">
                  <a:extLst>
                    <a:ext uri="{9D8B030D-6E8A-4147-A177-3AD203B41FA5}">
                      <a16:colId xmlns:a16="http://schemas.microsoft.com/office/drawing/2014/main" val="1568912581"/>
                    </a:ext>
                  </a:extLst>
                </a:gridCol>
                <a:gridCol w="396240">
                  <a:extLst>
                    <a:ext uri="{9D8B030D-6E8A-4147-A177-3AD203B41FA5}">
                      <a16:colId xmlns:a16="http://schemas.microsoft.com/office/drawing/2014/main" val="1477369837"/>
                    </a:ext>
                  </a:extLst>
                </a:gridCol>
                <a:gridCol w="396240">
                  <a:extLst>
                    <a:ext uri="{9D8B030D-6E8A-4147-A177-3AD203B41FA5}">
                      <a16:colId xmlns:a16="http://schemas.microsoft.com/office/drawing/2014/main" val="2802225980"/>
                    </a:ext>
                  </a:extLst>
                </a:gridCol>
                <a:gridCol w="477520">
                  <a:extLst>
                    <a:ext uri="{9D8B030D-6E8A-4147-A177-3AD203B41FA5}">
                      <a16:colId xmlns:a16="http://schemas.microsoft.com/office/drawing/2014/main" val="2486082045"/>
                    </a:ext>
                  </a:extLst>
                </a:gridCol>
                <a:gridCol w="447042">
                  <a:extLst>
                    <a:ext uri="{9D8B030D-6E8A-4147-A177-3AD203B41FA5}">
                      <a16:colId xmlns:a16="http://schemas.microsoft.com/office/drawing/2014/main" val="3703615310"/>
                    </a:ext>
                  </a:extLst>
                </a:gridCol>
              </a:tblGrid>
              <a:tr h="197459">
                <a:tc rowSpan="3" gridSpan="3"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de wise tolerance on the basis of Ash &amp; VM range wise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17"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M Rang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293284"/>
                  </a:ext>
                </a:extLst>
              </a:tr>
              <a:tr h="229264">
                <a:tc gridSpan="3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2660330"/>
                  </a:ext>
                </a:extLst>
              </a:tr>
              <a:tr h="230129">
                <a:tc gridSpan="3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x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3934937"/>
                  </a:ext>
                </a:extLst>
              </a:tr>
              <a:tr h="25475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x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M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M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H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H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886734"/>
                  </a:ext>
                </a:extLst>
              </a:tr>
              <a:tr h="229264"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h Range</a:t>
                      </a:r>
                    </a:p>
                  </a:txBody>
                  <a:tcPr marL="6350" marR="6350" marT="635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3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6616734"/>
                  </a:ext>
                </a:extLst>
              </a:tr>
              <a:tr h="1018062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5</a:t>
                      </a:r>
                    </a:p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</a:t>
                      </a:r>
                    </a:p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llinbah PCI</a:t>
                      </a:r>
                      <a:b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LV PCI</a:t>
                      </a:r>
                      <a:b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W PCI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dfor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unia</a:t>
                      </a:r>
                      <a:b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dfor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yerween</a:t>
                      </a:r>
                      <a:b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onyella</a:t>
                      </a:r>
                      <a:b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itre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stralian</a:t>
                      </a:r>
                      <a:b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CC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stra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o SMM</a:t>
                      </a:r>
                    </a:p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0102598"/>
                  </a:ext>
                </a:extLst>
              </a:tr>
              <a:tr h="197459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h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M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h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M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h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M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h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M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h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M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h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M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h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M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h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M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869907"/>
                  </a:ext>
                </a:extLst>
              </a:tr>
              <a:tr h="197459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9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5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7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8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4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4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2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8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5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4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4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5   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5145634"/>
                  </a:ext>
                </a:extLst>
              </a:tr>
              <a:tr h="197459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0.29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.16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.3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0.27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0.78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0.12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0.39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0.7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0.21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0.16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.2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A5A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0701654"/>
                  </a:ext>
                </a:extLst>
              </a:tr>
              <a:tr h="229264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1547227"/>
                  </a:ext>
                </a:extLst>
              </a:tr>
              <a:tr h="254752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7441086"/>
                  </a:ext>
                </a:extLst>
              </a:tr>
              <a:tr h="254752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H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2628787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A90532B1-2BBB-B4BF-1F1E-45B362A85279}"/>
              </a:ext>
            </a:extLst>
          </p:cNvPr>
          <p:cNvSpPr txBox="1"/>
          <p:nvPr/>
        </p:nvSpPr>
        <p:spPr>
          <a:xfrm>
            <a:off x="71120" y="145171"/>
            <a:ext cx="13228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sis for different grades of Coal by Sc.Serv- Flight sample Interlab Tolerance of Ash &amp; VM w.r.t CRM valu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0371383-1D7B-6EFB-22DF-F958DF30111A}"/>
              </a:ext>
            </a:extLst>
          </p:cNvPr>
          <p:cNvSpPr txBox="1"/>
          <p:nvPr/>
        </p:nvSpPr>
        <p:spPr>
          <a:xfrm>
            <a:off x="6837680" y="6387064"/>
            <a:ext cx="1371601" cy="276999"/>
          </a:xfrm>
          <a:prstGeom prst="rect">
            <a:avLst/>
          </a:prstGeom>
          <a:solidFill>
            <a:srgbClr val="A5A5A5"/>
          </a:solidFill>
          <a:ln>
            <a:solidFill>
              <a:schemeClr val="tx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1200">
                <a:solidFill>
                  <a:schemeClr val="bg1"/>
                </a:solidFill>
              </a:rPr>
              <a:t>CRM  tested value</a:t>
            </a: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30717E3E-A02A-35B5-FEC1-613F65A9472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9408160" y="6302375"/>
          <a:ext cx="9144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2" imgW="914400" imgH="806400" progId="AcroExch.Document.DC">
                  <p:embed/>
                </p:oleObj>
              </mc:Choice>
              <mc:Fallback>
                <p:oleObj name="Acrobat Document" showAsIcon="1" r:id="rId2" imgW="914400" imgH="806400" progId="AcroExch.Document.DC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30717E3E-A02A-35B5-FEC1-613F65A947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9408160" y="6302375"/>
                        <a:ext cx="9144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Arrow: Down 2">
            <a:extLst>
              <a:ext uri="{FF2B5EF4-FFF2-40B4-BE49-F238E27FC236}">
                <a16:creationId xmlns:a16="http://schemas.microsoft.com/office/drawing/2014/main" id="{07B8D31E-7E8B-E71A-8290-99857A582DEC}"/>
              </a:ext>
            </a:extLst>
          </p:cNvPr>
          <p:cNvSpPr/>
          <p:nvPr/>
        </p:nvSpPr>
        <p:spPr>
          <a:xfrm rot="16200000">
            <a:off x="8868490" y="6185052"/>
            <a:ext cx="246221" cy="650243"/>
          </a:xfrm>
          <a:prstGeom prst="down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>
              <a:ln>
                <a:solidFill>
                  <a:sysClr val="windowText" lastClr="0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68990DE-2EBA-089C-4BFB-2A9F6B5ADF3F}"/>
              </a:ext>
            </a:extLst>
          </p:cNvPr>
          <p:cNvSpPr txBox="1"/>
          <p:nvPr/>
        </p:nvSpPr>
        <p:spPr>
          <a:xfrm>
            <a:off x="1395641" y="6387064"/>
            <a:ext cx="2569652" cy="27699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1200"/>
              <a:t>Tolerance ≤Assigned CRM valu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8A353FC-098D-333E-7315-D7E127BA1A5B}"/>
              </a:ext>
            </a:extLst>
          </p:cNvPr>
          <p:cNvSpPr txBox="1"/>
          <p:nvPr/>
        </p:nvSpPr>
        <p:spPr>
          <a:xfrm>
            <a:off x="4036415" y="6387064"/>
            <a:ext cx="2572666" cy="276999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1200"/>
              <a:t>Tolerance&gt;Assigned CRM Valu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967E3CA-9B1F-3CAA-58BC-B1EA0A87733A}"/>
              </a:ext>
            </a:extLst>
          </p:cNvPr>
          <p:cNvSpPr txBox="1"/>
          <p:nvPr/>
        </p:nvSpPr>
        <p:spPr>
          <a:xfrm>
            <a:off x="335281" y="4316780"/>
            <a:ext cx="11521441" cy="193899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The above table shows the flight sample preparation and testing done across TSJ,TSK &amp; TSM labs for different coal grad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The Ash &amp; VM flight sample tolerance limit was proposed by scientific services team as compared to CRM tested val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The above table is showing the </a:t>
            </a:r>
            <a:r>
              <a:rPr kumimoji="0" lang="en-IN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</a:t>
            </a:r>
            <a:r>
              <a:rPr kumimoji="0" lang="en-IN" sz="105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T</a:t>
            </a:r>
            <a:r>
              <a:rPr kumimoji="0" lang="en-IN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 </a:t>
            </a:r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value which was taken as 0.2 earlier for calculation of the tolerance limi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New tolerance as per actual </a:t>
            </a: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</a:t>
            </a:r>
            <a:r>
              <a:rPr kumimoji="0" lang="en-IN" sz="12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T  </a:t>
            </a:r>
            <a:r>
              <a:rPr kumimoji="0" lang="en-IN" sz="1200" b="0" i="0" u="none" strike="noStrike" kern="1200" cap="none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s calculated for all the available coal grades data </a:t>
            </a:r>
            <a:endParaRPr lang="en-IN" sz="12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2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2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AA9912A-B798-F9B2-7360-6ED685C249B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045" t="8574" r="17739" b="13769"/>
          <a:stretch/>
        </p:blipFill>
        <p:spPr>
          <a:xfrm>
            <a:off x="2109744" y="5224721"/>
            <a:ext cx="1141446" cy="665443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AB78653F-72C2-CFD3-EF37-076C3C790A99}"/>
              </a:ext>
            </a:extLst>
          </p:cNvPr>
          <p:cNvGraphicFramePr>
            <a:graphicFrameLocks noGrp="1"/>
          </p:cNvGraphicFramePr>
          <p:nvPr/>
        </p:nvGraphicFramePr>
        <p:xfrm>
          <a:off x="6888245" y="4902894"/>
          <a:ext cx="4856956" cy="1309095"/>
        </p:xfrm>
        <a:graphic>
          <a:graphicData uri="http://schemas.openxmlformats.org/drawingml/2006/table">
            <a:tbl>
              <a:tblPr/>
              <a:tblGrid>
                <a:gridCol w="915114">
                  <a:extLst>
                    <a:ext uri="{9D8B030D-6E8A-4147-A177-3AD203B41FA5}">
                      <a16:colId xmlns:a16="http://schemas.microsoft.com/office/drawing/2014/main" val="2503568891"/>
                    </a:ext>
                  </a:extLst>
                </a:gridCol>
                <a:gridCol w="2806953">
                  <a:extLst>
                    <a:ext uri="{9D8B030D-6E8A-4147-A177-3AD203B41FA5}">
                      <a16:colId xmlns:a16="http://schemas.microsoft.com/office/drawing/2014/main" val="3626351811"/>
                    </a:ext>
                  </a:extLst>
                </a:gridCol>
                <a:gridCol w="1134889">
                  <a:extLst>
                    <a:ext uri="{9D8B030D-6E8A-4147-A177-3AD203B41FA5}">
                      <a16:colId xmlns:a16="http://schemas.microsoft.com/office/drawing/2014/main" val="2866999815"/>
                    </a:ext>
                  </a:extLst>
                </a:gridCol>
              </a:tblGrid>
              <a:tr h="175419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ameter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SJ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4787636"/>
                  </a:ext>
                </a:extLst>
              </a:tr>
              <a:tr h="1557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mary Increment Varianc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390162"/>
                  </a:ext>
                </a:extLst>
              </a:tr>
              <a:tr h="1557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</a:t>
                      </a:r>
                      <a:r>
                        <a:rPr lang="en-IN" sz="1200" b="0" i="0" u="none" strike="noStrike" baseline="-25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T</a:t>
                      </a:r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paration and testing varianc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9465952"/>
                  </a:ext>
                </a:extLst>
              </a:tr>
              <a:tr h="1557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 of increments per sub lot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70200"/>
                  </a:ext>
                </a:extLst>
              </a:tr>
              <a:tr h="15570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 of sublots in the lo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4006793"/>
                  </a:ext>
                </a:extLst>
              </a:tr>
              <a:tr h="39469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erall precision of sampling , sample preparation and testing for the lo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0728010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1A34EAFB-FCFD-5573-FF9B-E15021D2B6BA}"/>
              </a:ext>
            </a:extLst>
          </p:cNvPr>
          <p:cNvSpPr txBox="1"/>
          <p:nvPr/>
        </p:nvSpPr>
        <p:spPr>
          <a:xfrm flipV="1">
            <a:off x="6888245" y="5282578"/>
            <a:ext cx="4856955" cy="193824"/>
          </a:xfrm>
          <a:prstGeom prst="rect">
            <a:avLst/>
          </a:prstGeom>
          <a:noFill/>
          <a:ln>
            <a:solidFill>
              <a:srgbClr val="0F64B4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IN" sz="120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C9964CE-89CC-CEEC-9CD7-E16944AB4AEC}"/>
              </a:ext>
            </a:extLst>
          </p:cNvPr>
          <p:cNvSpPr txBox="1"/>
          <p:nvPr/>
        </p:nvSpPr>
        <p:spPr>
          <a:xfrm>
            <a:off x="479410" y="5476402"/>
            <a:ext cx="15188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s per IS-16143</a:t>
            </a:r>
            <a:endParaRPr lang="en-IN" sz="1600"/>
          </a:p>
        </p:txBody>
      </p:sp>
      <p:sp>
        <p:nvSpPr>
          <p:cNvPr id="20" name="Action Button: Go to End 19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34DE89B1-4811-4A7A-F2B7-2496662B4A2C}"/>
              </a:ext>
            </a:extLst>
          </p:cNvPr>
          <p:cNvSpPr/>
          <p:nvPr/>
        </p:nvSpPr>
        <p:spPr>
          <a:xfrm>
            <a:off x="6334759" y="4919469"/>
            <a:ext cx="203200" cy="173290"/>
          </a:xfrm>
          <a:prstGeom prst="actionButtonEnd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858091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3E35D42F-2722-3079-3233-D39F66C0C38F}"/>
              </a:ext>
            </a:extLst>
          </p:cNvPr>
          <p:cNvSpPr txBox="1"/>
          <p:nvPr/>
        </p:nvSpPr>
        <p:spPr>
          <a:xfrm>
            <a:off x="373379" y="6170878"/>
            <a:ext cx="5063697" cy="64633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Ash tolerance for flight sample varies in range Min-0.17 to Max- 0.44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Ash tolerance for plant sites varies in range Min-0.53 to Max- 0.68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B988ED2-EEAE-7412-7122-B78A2DD94269}"/>
              </a:ext>
            </a:extLst>
          </p:cNvPr>
          <p:cNvSpPr txBox="1"/>
          <p:nvPr/>
        </p:nvSpPr>
        <p:spPr>
          <a:xfrm>
            <a:off x="5523080" y="6170878"/>
            <a:ext cx="5063697" cy="64633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VM tolerance for flight sample varies in range Min-0.52 to Max- 0.6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VM tolerance for plant sites varies in range Min-0.72 to Max- 0.77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209910CC-5C4A-BB84-24E7-85B446934E58}"/>
              </a:ext>
            </a:extLst>
          </p:cNvPr>
          <p:cNvGraphicFramePr>
            <a:graphicFrameLocks noGrp="1"/>
          </p:cNvGraphicFramePr>
          <p:nvPr/>
        </p:nvGraphicFramePr>
        <p:xfrm>
          <a:off x="373379" y="687121"/>
          <a:ext cx="10568944" cy="5425864"/>
        </p:xfrm>
        <a:graphic>
          <a:graphicData uri="http://schemas.openxmlformats.org/drawingml/2006/table">
            <a:tbl>
              <a:tblPr/>
              <a:tblGrid>
                <a:gridCol w="584627">
                  <a:extLst>
                    <a:ext uri="{9D8B030D-6E8A-4147-A177-3AD203B41FA5}">
                      <a16:colId xmlns:a16="http://schemas.microsoft.com/office/drawing/2014/main" val="1392073430"/>
                    </a:ext>
                  </a:extLst>
                </a:gridCol>
                <a:gridCol w="402961">
                  <a:extLst>
                    <a:ext uri="{9D8B030D-6E8A-4147-A177-3AD203B41FA5}">
                      <a16:colId xmlns:a16="http://schemas.microsoft.com/office/drawing/2014/main" val="269198410"/>
                    </a:ext>
                  </a:extLst>
                </a:gridCol>
                <a:gridCol w="501385">
                  <a:extLst>
                    <a:ext uri="{9D8B030D-6E8A-4147-A177-3AD203B41FA5}">
                      <a16:colId xmlns:a16="http://schemas.microsoft.com/office/drawing/2014/main" val="182330908"/>
                    </a:ext>
                  </a:extLst>
                </a:gridCol>
                <a:gridCol w="584627">
                  <a:extLst>
                    <a:ext uri="{9D8B030D-6E8A-4147-A177-3AD203B41FA5}">
                      <a16:colId xmlns:a16="http://schemas.microsoft.com/office/drawing/2014/main" val="835164535"/>
                    </a:ext>
                  </a:extLst>
                </a:gridCol>
                <a:gridCol w="602896">
                  <a:extLst>
                    <a:ext uri="{9D8B030D-6E8A-4147-A177-3AD203B41FA5}">
                      <a16:colId xmlns:a16="http://schemas.microsoft.com/office/drawing/2014/main" val="111115963"/>
                    </a:ext>
                  </a:extLst>
                </a:gridCol>
                <a:gridCol w="292706">
                  <a:extLst>
                    <a:ext uri="{9D8B030D-6E8A-4147-A177-3AD203B41FA5}">
                      <a16:colId xmlns:a16="http://schemas.microsoft.com/office/drawing/2014/main" val="2524208533"/>
                    </a:ext>
                  </a:extLst>
                </a:gridCol>
                <a:gridCol w="592105">
                  <a:extLst>
                    <a:ext uri="{9D8B030D-6E8A-4147-A177-3AD203B41FA5}">
                      <a16:colId xmlns:a16="http://schemas.microsoft.com/office/drawing/2014/main" val="2574909246"/>
                    </a:ext>
                  </a:extLst>
                </a:gridCol>
                <a:gridCol w="597932">
                  <a:extLst>
                    <a:ext uri="{9D8B030D-6E8A-4147-A177-3AD203B41FA5}">
                      <a16:colId xmlns:a16="http://schemas.microsoft.com/office/drawing/2014/main" val="54417420"/>
                    </a:ext>
                  </a:extLst>
                </a:gridCol>
                <a:gridCol w="685404">
                  <a:extLst>
                    <a:ext uri="{9D8B030D-6E8A-4147-A177-3AD203B41FA5}">
                      <a16:colId xmlns:a16="http://schemas.microsoft.com/office/drawing/2014/main" val="4120468303"/>
                    </a:ext>
                  </a:extLst>
                </a:gridCol>
                <a:gridCol w="492850">
                  <a:extLst>
                    <a:ext uri="{9D8B030D-6E8A-4147-A177-3AD203B41FA5}">
                      <a16:colId xmlns:a16="http://schemas.microsoft.com/office/drawing/2014/main" val="1004586279"/>
                    </a:ext>
                  </a:extLst>
                </a:gridCol>
                <a:gridCol w="691072">
                  <a:extLst>
                    <a:ext uri="{9D8B030D-6E8A-4147-A177-3AD203B41FA5}">
                      <a16:colId xmlns:a16="http://schemas.microsoft.com/office/drawing/2014/main" val="2938480014"/>
                    </a:ext>
                  </a:extLst>
                </a:gridCol>
                <a:gridCol w="652138">
                  <a:extLst>
                    <a:ext uri="{9D8B030D-6E8A-4147-A177-3AD203B41FA5}">
                      <a16:colId xmlns:a16="http://schemas.microsoft.com/office/drawing/2014/main" val="2055889343"/>
                    </a:ext>
                  </a:extLst>
                </a:gridCol>
                <a:gridCol w="667348">
                  <a:extLst>
                    <a:ext uri="{9D8B030D-6E8A-4147-A177-3AD203B41FA5}">
                      <a16:colId xmlns:a16="http://schemas.microsoft.com/office/drawing/2014/main" val="1799964461"/>
                    </a:ext>
                  </a:extLst>
                </a:gridCol>
                <a:gridCol w="515142">
                  <a:extLst>
                    <a:ext uri="{9D8B030D-6E8A-4147-A177-3AD203B41FA5}">
                      <a16:colId xmlns:a16="http://schemas.microsoft.com/office/drawing/2014/main" val="144575803"/>
                    </a:ext>
                  </a:extLst>
                </a:gridCol>
                <a:gridCol w="325353">
                  <a:extLst>
                    <a:ext uri="{9D8B030D-6E8A-4147-A177-3AD203B41FA5}">
                      <a16:colId xmlns:a16="http://schemas.microsoft.com/office/drawing/2014/main" val="3157556460"/>
                    </a:ext>
                  </a:extLst>
                </a:gridCol>
                <a:gridCol w="325353">
                  <a:extLst>
                    <a:ext uri="{9D8B030D-6E8A-4147-A177-3AD203B41FA5}">
                      <a16:colId xmlns:a16="http://schemas.microsoft.com/office/drawing/2014/main" val="40237514"/>
                    </a:ext>
                  </a:extLst>
                </a:gridCol>
                <a:gridCol w="632630">
                  <a:extLst>
                    <a:ext uri="{9D8B030D-6E8A-4147-A177-3AD203B41FA5}">
                      <a16:colId xmlns:a16="http://schemas.microsoft.com/office/drawing/2014/main" val="3477104664"/>
                    </a:ext>
                  </a:extLst>
                </a:gridCol>
                <a:gridCol w="468027">
                  <a:extLst>
                    <a:ext uri="{9D8B030D-6E8A-4147-A177-3AD203B41FA5}">
                      <a16:colId xmlns:a16="http://schemas.microsoft.com/office/drawing/2014/main" val="1659816801"/>
                    </a:ext>
                  </a:extLst>
                </a:gridCol>
                <a:gridCol w="309205">
                  <a:extLst>
                    <a:ext uri="{9D8B030D-6E8A-4147-A177-3AD203B41FA5}">
                      <a16:colId xmlns:a16="http://schemas.microsoft.com/office/drawing/2014/main" val="2778901706"/>
                    </a:ext>
                  </a:extLst>
                </a:gridCol>
                <a:gridCol w="645183">
                  <a:extLst>
                    <a:ext uri="{9D8B030D-6E8A-4147-A177-3AD203B41FA5}">
                      <a16:colId xmlns:a16="http://schemas.microsoft.com/office/drawing/2014/main" val="905028225"/>
                    </a:ext>
                  </a:extLst>
                </a:gridCol>
              </a:tblGrid>
              <a:tr h="135823">
                <a:tc rowSpan="3" gridSpan="3"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al Grade wise tolerance based on Ash &amp; VM range wise </a:t>
                      </a:r>
                    </a:p>
                  </a:txBody>
                  <a:tcPr marL="4486" marR="4486" marT="44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17">
                  <a:txBody>
                    <a:bodyPr/>
                    <a:lstStyle/>
                    <a:p>
                      <a:pPr algn="ctr" fontAlgn="ctr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M Range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0613906"/>
                  </a:ext>
                </a:extLst>
              </a:tr>
              <a:tr h="188598">
                <a:tc gridSpan="3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n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7559085"/>
                  </a:ext>
                </a:extLst>
              </a:tr>
              <a:tr h="188598">
                <a:tc gridSpan="3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x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3674426"/>
                  </a:ext>
                </a:extLst>
              </a:tr>
              <a:tr h="37331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n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x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L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M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M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H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H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6402322"/>
                  </a:ext>
                </a:extLst>
              </a:tr>
              <a:tr h="188598"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h Range</a:t>
                      </a:r>
                      <a:endParaRPr lang="en-IN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86" marR="4486" marT="4486" marB="0" vert="vert2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37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5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L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253670"/>
                  </a:ext>
                </a:extLst>
              </a:tr>
              <a:tr h="2616273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5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t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llinbah PCI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LV PCI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W PCI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ended PCI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BO PCI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llinbah + LV PCI</a:t>
                      </a:r>
                      <a:b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W PCI</a:t>
                      </a:r>
                      <a:endParaRPr lang="en-IN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86" marR="4486" marT="448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t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dford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ricon PCI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RRAGH+BARALABA PCI BLEND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ONESIAN PCI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 Coal PCI (WEAK)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aji CC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ident</a:t>
                      </a:r>
                      <a:endParaRPr lang="en-IN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86" marR="4486" marT="448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t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unia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dford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% ASH BHP OHCC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C7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RTON_HCC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unia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V HCC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V PCI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UCODE PMV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DN PCI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D HCC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bah North</a:t>
                      </a:r>
                      <a:endParaRPr lang="en-IN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86" marR="4486" marT="448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yerween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onyella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itrel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% ASH BHP OHCC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OLGA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UMA HCC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llawara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 EAST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V PCI (WEAK)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Res HCC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llenium HCC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ITREL PCI (23% VM) WEAK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k Standard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k Standard (OHCC)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HYALLA PCI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monate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yerwen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val ridge</a:t>
                      </a:r>
                      <a:b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onyella</a:t>
                      </a:r>
                      <a:b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itrel Soft</a:t>
                      </a:r>
                      <a:b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VERSIDE</a:t>
                      </a:r>
                      <a:endParaRPr lang="en-IN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stralian</a:t>
                      </a:r>
                      <a:b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CC</a:t>
                      </a:r>
                      <a:b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llawara</a:t>
                      </a:r>
                      <a:b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HMOOR</a:t>
                      </a:r>
                      <a:b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WW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86" marR="4486" marT="448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t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WSON MET COAL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noma</a:t>
                      </a:r>
                    </a:p>
                  </a:txBody>
                  <a:tcPr marL="4486" marR="4486" marT="448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t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stral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UEWATER SS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ME HVA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ME SOFT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LIET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ntoy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strel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con SS</a:t>
                      </a:r>
                      <a:endParaRPr lang="en-IN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86" marR="4486" marT="448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t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o SMM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M</a:t>
                      </a:r>
                      <a:b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NTZ</a:t>
                      </a:r>
                    </a:p>
                  </a:txBody>
                  <a:tcPr marL="4486" marR="4486" marT="448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5527473"/>
                  </a:ext>
                </a:extLst>
              </a:tr>
              <a:tr h="16221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h</a:t>
                      </a:r>
                    </a:p>
                  </a:txBody>
                  <a:tcPr marL="4486" marR="4486" marT="448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M</a:t>
                      </a:r>
                    </a:p>
                  </a:txBody>
                  <a:tcPr marL="4486" marR="4486" marT="448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h</a:t>
                      </a:r>
                    </a:p>
                  </a:txBody>
                  <a:tcPr marL="4486" marR="4486" marT="448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M</a:t>
                      </a:r>
                    </a:p>
                  </a:txBody>
                  <a:tcPr marL="4486" marR="4486" marT="448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h</a:t>
                      </a:r>
                    </a:p>
                  </a:txBody>
                  <a:tcPr marL="4486" marR="4486" marT="448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M</a:t>
                      </a:r>
                    </a:p>
                  </a:txBody>
                  <a:tcPr marL="4486" marR="4486" marT="448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h</a:t>
                      </a:r>
                    </a:p>
                  </a:txBody>
                  <a:tcPr marL="4486" marR="4486" marT="448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M</a:t>
                      </a:r>
                    </a:p>
                  </a:txBody>
                  <a:tcPr marL="4486" marR="4486" marT="448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h</a:t>
                      </a:r>
                    </a:p>
                  </a:txBody>
                  <a:tcPr marL="4486" marR="4486" marT="448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M</a:t>
                      </a:r>
                    </a:p>
                  </a:txBody>
                  <a:tcPr marL="4486" marR="4486" marT="448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h</a:t>
                      </a:r>
                    </a:p>
                  </a:txBody>
                  <a:tcPr marL="4486" marR="4486" marT="448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M</a:t>
                      </a:r>
                    </a:p>
                  </a:txBody>
                  <a:tcPr marL="4486" marR="4486" marT="448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h</a:t>
                      </a:r>
                    </a:p>
                  </a:txBody>
                  <a:tcPr marL="4486" marR="4486" marT="448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M</a:t>
                      </a:r>
                    </a:p>
                  </a:txBody>
                  <a:tcPr marL="4486" marR="4486" marT="448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h</a:t>
                      </a:r>
                    </a:p>
                  </a:txBody>
                  <a:tcPr marL="4486" marR="4486" marT="448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M</a:t>
                      </a:r>
                    </a:p>
                  </a:txBody>
                  <a:tcPr marL="4486" marR="4486" marT="448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7893073"/>
                  </a:ext>
                </a:extLst>
              </a:tr>
              <a:tr h="16221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0.29</a:t>
                      </a:r>
                    </a:p>
                  </a:txBody>
                  <a:tcPr marL="4486" marR="4486" marT="4486" marB="0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.16</a:t>
                      </a:r>
                    </a:p>
                  </a:txBody>
                  <a:tcPr marL="4486" marR="4486" marT="4486" marB="0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4486" marR="4486" marT="4486" marB="0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.3</a:t>
                      </a:r>
                    </a:p>
                  </a:txBody>
                  <a:tcPr marL="4486" marR="4486" marT="4486" marB="0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0.27</a:t>
                      </a:r>
                    </a:p>
                  </a:txBody>
                  <a:tcPr marL="4486" marR="4486" marT="4486" marB="0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0.78</a:t>
                      </a:r>
                    </a:p>
                  </a:txBody>
                  <a:tcPr marL="4486" marR="4486" marT="4486" marB="0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0.12</a:t>
                      </a:r>
                    </a:p>
                  </a:txBody>
                  <a:tcPr marL="4486" marR="4486" marT="4486" marB="0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0.39</a:t>
                      </a:r>
                    </a:p>
                  </a:txBody>
                  <a:tcPr marL="4486" marR="4486" marT="4486" marB="0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0.7</a:t>
                      </a:r>
                    </a:p>
                  </a:txBody>
                  <a:tcPr marL="4486" marR="4486" marT="4486" marB="0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486" marR="4486" marT="4486" marB="0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0.21</a:t>
                      </a:r>
                    </a:p>
                  </a:txBody>
                  <a:tcPr marL="4486" marR="4486" marT="4486" marB="0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486" marR="4486" marT="4486" marB="0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4486" marR="4486" marT="4486" marB="0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.2</a:t>
                      </a:r>
                    </a:p>
                  </a:txBody>
                  <a:tcPr marL="4486" marR="4486" marT="4486" marB="0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0076523"/>
                  </a:ext>
                </a:extLst>
              </a:tr>
              <a:tr h="16221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9</a:t>
                      </a:r>
                    </a:p>
                  </a:txBody>
                  <a:tcPr marL="4486" marR="4486" marT="4486" marB="0">
                    <a:lnL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5</a:t>
                      </a:r>
                    </a:p>
                  </a:txBody>
                  <a:tcPr marL="4486" marR="4486" marT="4486" marB="0">
                    <a:lnL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7</a:t>
                      </a:r>
                    </a:p>
                  </a:txBody>
                  <a:tcPr marL="4486" marR="4486" marT="4486" marB="0">
                    <a:lnL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8</a:t>
                      </a:r>
                    </a:p>
                  </a:txBody>
                  <a:tcPr marL="4486" marR="4486" marT="4486" marB="0">
                    <a:lnL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4</a:t>
                      </a:r>
                    </a:p>
                  </a:txBody>
                  <a:tcPr marL="4486" marR="4486" marT="4486" marB="0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4</a:t>
                      </a:r>
                    </a:p>
                  </a:txBody>
                  <a:tcPr marL="4486" marR="4486" marT="4486" marB="0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2</a:t>
                      </a:r>
                    </a:p>
                  </a:txBody>
                  <a:tcPr marL="4486" marR="4486" marT="4486" marB="0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8</a:t>
                      </a:r>
                    </a:p>
                  </a:txBody>
                  <a:tcPr marL="4486" marR="4486" marT="4486" marB="0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5</a:t>
                      </a:r>
                    </a:p>
                  </a:txBody>
                  <a:tcPr marL="4486" marR="4486" marT="4486" marB="0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2</a:t>
                      </a:r>
                    </a:p>
                  </a:txBody>
                  <a:tcPr marL="4486" marR="4486" marT="448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4</a:t>
                      </a:r>
                    </a:p>
                  </a:txBody>
                  <a:tcPr marL="4486" marR="4486" marT="4486" marB="0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</a:t>
                      </a:r>
                    </a:p>
                  </a:txBody>
                  <a:tcPr marL="4486" marR="4486" marT="4486" marB="0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4</a:t>
                      </a:r>
                    </a:p>
                  </a:txBody>
                  <a:tcPr marL="4486" marR="4486" marT="4486" marB="0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5</a:t>
                      </a:r>
                    </a:p>
                  </a:txBody>
                  <a:tcPr marL="4486" marR="4486" marT="4486" marB="0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9129459"/>
                  </a:ext>
                </a:extLst>
              </a:tr>
              <a:tr h="16221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0</a:t>
                      </a:r>
                    </a:p>
                  </a:txBody>
                  <a:tcPr marL="4486" marR="4486" marT="4486" marB="0" anchor="b"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7</a:t>
                      </a:r>
                    </a:p>
                  </a:txBody>
                  <a:tcPr marL="4486" marR="4486" marT="4486" marB="0" anchor="b"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3</a:t>
                      </a:r>
                    </a:p>
                  </a:txBody>
                  <a:tcPr marL="4486" marR="4486" marT="4486" marB="0" anchor="b"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4</a:t>
                      </a:r>
                    </a:p>
                  </a:txBody>
                  <a:tcPr marL="4486" marR="4486" marT="4486" marB="0" anchor="b">
                    <a:lnL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8</a:t>
                      </a:r>
                    </a:p>
                  </a:txBody>
                  <a:tcPr marL="4486" marR="4486" marT="4486" marB="0" anchor="b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7</a:t>
                      </a:r>
                    </a:p>
                  </a:txBody>
                  <a:tcPr marL="4486" marR="4486" marT="4486" marB="0" anchor="b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2</a:t>
                      </a:r>
                    </a:p>
                  </a:txBody>
                  <a:tcPr marL="4486" marR="4486" marT="4486" marB="0" anchor="b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4</a:t>
                      </a:r>
                    </a:p>
                  </a:txBody>
                  <a:tcPr marL="4486" marR="4486" marT="4486" marB="0" anchor="b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8</a:t>
                      </a:r>
                    </a:p>
                  </a:txBody>
                  <a:tcPr marL="4486" marR="4486" marT="4486" marB="0" anchor="b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2</a:t>
                      </a:r>
                    </a:p>
                  </a:txBody>
                  <a:tcPr marL="4486" marR="4486" marT="44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7</a:t>
                      </a:r>
                    </a:p>
                  </a:txBody>
                  <a:tcPr marL="4486" marR="4486" marT="4486" marB="0" anchor="b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5</a:t>
                      </a:r>
                    </a:p>
                  </a:txBody>
                  <a:tcPr marL="4486" marR="4486" marT="4486" marB="0" anchor="b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8</a:t>
                      </a:r>
                    </a:p>
                  </a:txBody>
                  <a:tcPr marL="4486" marR="4486" marT="4486" marB="0" anchor="b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7</a:t>
                      </a:r>
                    </a:p>
                  </a:txBody>
                  <a:tcPr marL="4486" marR="4486" marT="4486" marB="0" anchor="b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0506197"/>
                  </a:ext>
                </a:extLst>
              </a:tr>
              <a:tr h="135823">
                <a:tc vMerge="1">
                  <a:txBody>
                    <a:bodyPr/>
                    <a:lstStyle/>
                    <a:p>
                      <a:pPr algn="l" fontAlgn="ctr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9422167"/>
                  </a:ext>
                </a:extLst>
              </a:tr>
              <a:tr h="135823">
                <a:tc vMerge="1">
                  <a:txBody>
                    <a:bodyPr/>
                    <a:lstStyle/>
                    <a:p>
                      <a:pPr algn="l" fontAlgn="ctr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5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7363264"/>
                  </a:ext>
                </a:extLst>
              </a:tr>
              <a:tr h="135823">
                <a:tc vMerge="1">
                  <a:txBody>
                    <a:bodyPr/>
                    <a:lstStyle/>
                    <a:p>
                      <a:pPr algn="l" fontAlgn="ctr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5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3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H</a:t>
                      </a:r>
                    </a:p>
                  </a:txBody>
                  <a:tcPr marL="4486" marR="4486" marT="44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86" marR="4486" marT="44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9373254"/>
                  </a:ext>
                </a:extLst>
              </a:tr>
            </a:tbl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58E39D91-817A-7C4E-8E55-5D04D5F5C528}"/>
              </a:ext>
            </a:extLst>
          </p:cNvPr>
          <p:cNvSpPr txBox="1"/>
          <p:nvPr/>
        </p:nvSpPr>
        <p:spPr>
          <a:xfrm>
            <a:off x="11196323" y="5304434"/>
            <a:ext cx="904237" cy="33855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800" b="1">
                <a:latin typeface="Arial" panose="020B0604020202020204" pitchFamily="34" charset="0"/>
                <a:cs typeface="Arial" panose="020B0604020202020204" pitchFamily="34" charset="0"/>
              </a:rPr>
              <a:t>Tol for Flight samp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2CFEF28-C018-72EB-5A14-93DBFB888893}"/>
              </a:ext>
            </a:extLst>
          </p:cNvPr>
          <p:cNvSpPr txBox="1"/>
          <p:nvPr/>
        </p:nvSpPr>
        <p:spPr>
          <a:xfrm>
            <a:off x="11196322" y="5703816"/>
            <a:ext cx="904237" cy="33855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800" b="1">
                <a:latin typeface="Arial" panose="020B0604020202020204" pitchFamily="34" charset="0"/>
                <a:cs typeface="Arial" panose="020B0604020202020204" pitchFamily="34" charset="0"/>
              </a:rPr>
              <a:t>Tol for plant sites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9AD7D23B-8BEA-5971-7940-C461AFD776CD}"/>
              </a:ext>
            </a:extLst>
          </p:cNvPr>
          <p:cNvCxnSpPr>
            <a:cxnSpLocks/>
            <a:endCxn id="18" idx="1"/>
          </p:cNvCxnSpPr>
          <p:nvPr/>
        </p:nvCxnSpPr>
        <p:spPr>
          <a:xfrm>
            <a:off x="10942323" y="5407397"/>
            <a:ext cx="254000" cy="6631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72D1AABC-AA60-53C1-3535-7E2A4EC56432}"/>
              </a:ext>
            </a:extLst>
          </p:cNvPr>
          <p:cNvCxnSpPr>
            <a:cxnSpLocks/>
            <a:endCxn id="19" idx="1"/>
          </p:cNvCxnSpPr>
          <p:nvPr/>
        </p:nvCxnSpPr>
        <p:spPr>
          <a:xfrm>
            <a:off x="10942323" y="5600954"/>
            <a:ext cx="253999" cy="27213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A26066ED-62C6-5B9D-9339-5A8186EB53CF}"/>
              </a:ext>
            </a:extLst>
          </p:cNvPr>
          <p:cNvSpPr txBox="1"/>
          <p:nvPr/>
        </p:nvSpPr>
        <p:spPr>
          <a:xfrm>
            <a:off x="11196323" y="4917321"/>
            <a:ext cx="904237" cy="33855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800" b="1">
                <a:latin typeface="Arial" panose="020B0604020202020204" pitchFamily="34" charset="0"/>
                <a:cs typeface="Arial" panose="020B0604020202020204" pitchFamily="34" charset="0"/>
              </a:rPr>
              <a:t>CRM tested value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4148701A-3220-509E-5433-ECCBC467DC47}"/>
              </a:ext>
            </a:extLst>
          </p:cNvPr>
          <p:cNvCxnSpPr>
            <a:cxnSpLocks/>
            <a:endCxn id="22" idx="1"/>
          </p:cNvCxnSpPr>
          <p:nvPr/>
        </p:nvCxnSpPr>
        <p:spPr>
          <a:xfrm flipV="1">
            <a:off x="10942323" y="5086598"/>
            <a:ext cx="254000" cy="1048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C59817FD-C561-4D7E-4927-19201FA272D9}"/>
              </a:ext>
            </a:extLst>
          </p:cNvPr>
          <p:cNvSpPr txBox="1"/>
          <p:nvPr/>
        </p:nvSpPr>
        <p:spPr>
          <a:xfrm>
            <a:off x="223519" y="142240"/>
            <a:ext cx="122224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h &amp; VM tolerance calculated for different grades of Coal</a:t>
            </a:r>
          </a:p>
        </p:txBody>
      </p:sp>
    </p:spTree>
    <p:extLst>
      <p:ext uri="{BB962C8B-B14F-4D97-AF65-F5344CB8AC3E}">
        <p14:creationId xmlns:p14="http://schemas.microsoft.com/office/powerpoint/2010/main" val="15655258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9" name="think-cell data - do not delete" hidden="1">
            <a:extLst>
              <a:ext uri="{FF2B5EF4-FFF2-40B4-BE49-F238E27FC236}">
                <a16:creationId xmlns:a16="http://schemas.microsoft.com/office/drawing/2014/main" id="{2A077EFC-C7DF-6062-B804-7933F28153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7987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9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077EFC-C7DF-6062-B804-7933F28153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51DAC85C-7051-5343-331C-A0BE43C6D9C6}"/>
              </a:ext>
            </a:extLst>
          </p:cNvPr>
          <p:cNvCxnSpPr>
            <a:cxnSpLocks/>
            <a:stCxn id="2" idx="3"/>
          </p:cNvCxnSpPr>
          <p:nvPr/>
        </p:nvCxnSpPr>
        <p:spPr>
          <a:xfrm flipV="1">
            <a:off x="2508043" y="2721398"/>
            <a:ext cx="1775161" cy="18666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6F7F4420-D1B6-42A3-11E0-0708DF186438}"/>
              </a:ext>
            </a:extLst>
          </p:cNvPr>
          <p:cNvSpPr txBox="1"/>
          <p:nvPr/>
        </p:nvSpPr>
        <p:spPr>
          <a:xfrm>
            <a:off x="0" y="203200"/>
            <a:ext cx="121102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ison study of Imported Coal Ash tolerance- For Jellinbah PCI reported ash </a:t>
            </a: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March’23-April’24	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9444D7D-D5AC-BECE-C406-6486C5BC5752}"/>
              </a:ext>
            </a:extLst>
          </p:cNvPr>
          <p:cNvSpPr/>
          <p:nvPr/>
        </p:nvSpPr>
        <p:spPr>
          <a:xfrm>
            <a:off x="308249" y="717805"/>
            <a:ext cx="5787751" cy="4634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Case B: Comparison of deviations with </a:t>
            </a:r>
            <a:r>
              <a:rPr lang="en-US" sz="1600" b="1">
                <a:solidFill>
                  <a:srgbClr val="000000"/>
                </a:solidFill>
                <a:latin typeface="Arial Narrow" panose="020B0606020202030204" pitchFamily="34" charset="0"/>
                <a:cs typeface="Arial"/>
              </a:rPr>
              <a:t>current &amp;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 proposed toleranc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6A08E41-03FF-AE06-1D04-6246CCE747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78714" y="2059119"/>
            <a:ext cx="720000" cy="360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732488D-CBE4-BFE6-7350-0EB22B82CB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78714" y="3403371"/>
            <a:ext cx="720000" cy="360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FEA0999-BEFB-4441-DA9D-3C767A18514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78714" y="4747623"/>
            <a:ext cx="720000" cy="360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C00F41D-780D-4364-AB4C-07D20BFB367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00" t="19792" r="19470" b="11085"/>
          <a:stretch/>
        </p:blipFill>
        <p:spPr>
          <a:xfrm>
            <a:off x="1906533" y="4406141"/>
            <a:ext cx="601510" cy="36389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Left Brace 7">
            <a:extLst>
              <a:ext uri="{FF2B5EF4-FFF2-40B4-BE49-F238E27FC236}">
                <a16:creationId xmlns:a16="http://schemas.microsoft.com/office/drawing/2014/main" id="{641832C4-A8C8-56DA-60FC-149E9E5D6D39}"/>
              </a:ext>
            </a:extLst>
          </p:cNvPr>
          <p:cNvSpPr/>
          <p:nvPr/>
        </p:nvSpPr>
        <p:spPr>
          <a:xfrm rot="10800000">
            <a:off x="1404647" y="4181698"/>
            <a:ext cx="246300" cy="830997"/>
          </a:xfrm>
          <a:prstGeom prst="lef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DF4901F-E3D0-E15F-40FA-63661DB095D2}"/>
              </a:ext>
            </a:extLst>
          </p:cNvPr>
          <p:cNvCxnSpPr>
            <a:cxnSpLocks/>
            <a:stCxn id="2" idx="3"/>
            <a:endCxn id="24" idx="1"/>
          </p:cNvCxnSpPr>
          <p:nvPr/>
        </p:nvCxnSpPr>
        <p:spPr>
          <a:xfrm flipV="1">
            <a:off x="2508043" y="3992978"/>
            <a:ext cx="1742671" cy="5951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4A790CE-2A35-6F6D-1C92-74BF2F25FB8B}"/>
              </a:ext>
            </a:extLst>
          </p:cNvPr>
          <p:cNvCxnSpPr>
            <a:cxnSpLocks/>
            <a:stCxn id="2" idx="3"/>
            <a:endCxn id="25" idx="1"/>
          </p:cNvCxnSpPr>
          <p:nvPr/>
        </p:nvCxnSpPr>
        <p:spPr>
          <a:xfrm>
            <a:off x="2508043" y="4588088"/>
            <a:ext cx="1742671" cy="7730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D5B64832-DF61-CA05-CECC-021A7E755B9B}"/>
              </a:ext>
            </a:extLst>
          </p:cNvPr>
          <p:cNvSpPr txBox="1"/>
          <p:nvPr/>
        </p:nvSpPr>
        <p:spPr>
          <a:xfrm>
            <a:off x="4252199" y="2545434"/>
            <a:ext cx="573030" cy="25433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lIns="84235" tIns="42117" rIns="84235" bIns="42117" rtlCol="0">
            <a:spAutoFit/>
          </a:bodyPr>
          <a:lstStyle/>
          <a:p>
            <a:pPr algn="ctr">
              <a:defRPr/>
            </a:pPr>
            <a:r>
              <a:rPr lang="en-IN" sz="1100">
                <a:solidFill>
                  <a:srgbClr val="000000"/>
                </a:solidFill>
                <a:latin typeface="Arial" pitchFamily="34" charset="0"/>
              </a:rPr>
              <a:t>TSJ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F8774B4-2E61-C47C-0751-BE77DD48583E}"/>
              </a:ext>
            </a:extLst>
          </p:cNvPr>
          <p:cNvSpPr txBox="1"/>
          <p:nvPr/>
        </p:nvSpPr>
        <p:spPr>
          <a:xfrm>
            <a:off x="4250714" y="3884978"/>
            <a:ext cx="576000" cy="216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lIns="84235" tIns="42117" rIns="84235" bIns="42117" rtlCol="0">
            <a:spAutoFit/>
          </a:bodyPr>
          <a:lstStyle>
            <a:defPPr>
              <a:defRPr lang="en-GB"/>
            </a:defPPr>
            <a:lvl1pPr algn="ctr">
              <a:defRPr sz="1400"/>
            </a:lvl1pPr>
          </a:lstStyle>
          <a:p>
            <a:r>
              <a:rPr lang="en-IN" sz="1100">
                <a:solidFill>
                  <a:srgbClr val="000000"/>
                </a:solidFill>
                <a:latin typeface="Arial" pitchFamily="34" charset="0"/>
              </a:rPr>
              <a:t>TSK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34B1148-E378-CBAC-A5AE-E13972450613}"/>
              </a:ext>
            </a:extLst>
          </p:cNvPr>
          <p:cNvSpPr txBox="1"/>
          <p:nvPr/>
        </p:nvSpPr>
        <p:spPr>
          <a:xfrm>
            <a:off x="4250714" y="5233924"/>
            <a:ext cx="576000" cy="25433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lIns="84235" tIns="42117" rIns="84235" bIns="42117" rtlCol="0">
            <a:spAutoFit/>
          </a:bodyPr>
          <a:lstStyle>
            <a:defPPr>
              <a:defRPr lang="en-GB"/>
            </a:defPPr>
            <a:lvl1pPr algn="ctr">
              <a:defRPr sz="1400"/>
            </a:lvl1pPr>
          </a:lstStyle>
          <a:p>
            <a:r>
              <a:rPr lang="en-IN" sz="1100">
                <a:solidFill>
                  <a:srgbClr val="000000"/>
                </a:solidFill>
                <a:latin typeface="Arial" pitchFamily="34" charset="0"/>
              </a:rPr>
              <a:t>TSM</a:t>
            </a:r>
            <a:endParaRPr lang="en-IN" sz="10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A2E3DD0-D072-8C05-7955-49716578A4BF}"/>
              </a:ext>
            </a:extLst>
          </p:cNvPr>
          <p:cNvSpPr txBox="1"/>
          <p:nvPr/>
        </p:nvSpPr>
        <p:spPr>
          <a:xfrm>
            <a:off x="5035054" y="2100619"/>
            <a:ext cx="1302770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No of Rakes-18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1302FC4-6962-C2A9-D9C4-9EBABB3F1B01}"/>
              </a:ext>
            </a:extLst>
          </p:cNvPr>
          <p:cNvSpPr txBox="1"/>
          <p:nvPr/>
        </p:nvSpPr>
        <p:spPr>
          <a:xfrm>
            <a:off x="5047256" y="3444871"/>
            <a:ext cx="1302770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No of Rakes-28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4B7BE6F-0256-C72E-67E7-E7156A5A7E39}"/>
              </a:ext>
            </a:extLst>
          </p:cNvPr>
          <p:cNvSpPr txBox="1"/>
          <p:nvPr/>
        </p:nvSpPr>
        <p:spPr>
          <a:xfrm>
            <a:off x="5047256" y="4747623"/>
            <a:ext cx="1302770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No of Rakes-57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2" name="Rectangle: Rounded Corners 31">
                <a:extLst>
                  <a:ext uri="{FF2B5EF4-FFF2-40B4-BE49-F238E27FC236}">
                    <a16:creationId xmlns:a16="http://schemas.microsoft.com/office/drawing/2014/main" id="{B06B23EF-0A66-732C-A42C-71C89AA13E34}"/>
                  </a:ext>
                </a:extLst>
              </p:cNvPr>
              <p:cNvSpPr/>
              <p:nvPr/>
            </p:nvSpPr>
            <p:spPr>
              <a:xfrm>
                <a:off x="6452113" y="1192654"/>
                <a:ext cx="2143760" cy="488629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IN" sz="1200">
                    <a:latin typeface="Arial" panose="020B0604020202020204" pitchFamily="34" charset="0"/>
                    <a:cs typeface="Arial" panose="020B0604020202020204" pitchFamily="34" charset="0"/>
                  </a:rPr>
                  <a:t>With Current tolerance limit </a:t>
                </a:r>
                <a14:m>
                  <m:oMath xmlns:m="http://schemas.openxmlformats.org/officeDocument/2006/math">
                    <m:r>
                      <a:rPr lang="en-IN" sz="12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±</m:t>
                    </m:r>
                  </m:oMath>
                </a14:m>
                <a:r>
                  <a:rPr lang="en-IN" sz="1200">
                    <a:latin typeface="Arial" panose="020B0604020202020204" pitchFamily="34" charset="0"/>
                    <a:cs typeface="Arial" panose="020B0604020202020204" pitchFamily="34" charset="0"/>
                  </a:rPr>
                  <a:t>0.28 </a:t>
                </a:r>
              </a:p>
            </p:txBody>
          </p:sp>
        </mc:Choice>
        <mc:Fallback xmlns="">
          <p:sp>
            <p:nvSpPr>
              <p:cNvPr id="32" name="Rectangle: Rounded Corners 31">
                <a:extLst>
                  <a:ext uri="{FF2B5EF4-FFF2-40B4-BE49-F238E27FC236}">
                    <a16:creationId xmlns:a16="http://schemas.microsoft.com/office/drawing/2014/main" id="{B06B23EF-0A66-732C-A42C-71C89AA13E3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52113" y="1192654"/>
                <a:ext cx="2143760" cy="488629"/>
              </a:xfrm>
              <a:prstGeom prst="roundRect">
                <a:avLst/>
              </a:prstGeom>
              <a:blipFill>
                <a:blip r:embed="rId7"/>
                <a:stretch>
                  <a:fillRect b="-2381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Rectangle: Rounded Corners 32">
                <a:extLst>
                  <a:ext uri="{FF2B5EF4-FFF2-40B4-BE49-F238E27FC236}">
                    <a16:creationId xmlns:a16="http://schemas.microsoft.com/office/drawing/2014/main" id="{FF9E06DC-AD74-0FE9-D698-862B86502F16}"/>
                  </a:ext>
                </a:extLst>
              </p:cNvPr>
              <p:cNvSpPr/>
              <p:nvPr/>
            </p:nvSpPr>
            <p:spPr>
              <a:xfrm>
                <a:off x="9239990" y="1192654"/>
                <a:ext cx="2197871" cy="488629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IN" sz="1200">
                    <a:latin typeface="Arial" panose="020B0604020202020204" pitchFamily="34" charset="0"/>
                    <a:cs typeface="Arial" panose="020B0604020202020204" pitchFamily="34" charset="0"/>
                  </a:rPr>
                  <a:t>With proposed tolerance limit </a:t>
                </a:r>
                <a14:m>
                  <m:oMath xmlns:m="http://schemas.openxmlformats.org/officeDocument/2006/math">
                    <m:r>
                      <a:rPr lang="en-IN" sz="12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±</m:t>
                    </m:r>
                  </m:oMath>
                </a14:m>
                <a:r>
                  <a:rPr lang="en-IN" sz="1200">
                    <a:latin typeface="Arial" panose="020B0604020202020204" pitchFamily="34" charset="0"/>
                    <a:cs typeface="Arial" panose="020B0604020202020204" pitchFamily="34" charset="0"/>
                  </a:rPr>
                  <a:t>0.55 </a:t>
                </a:r>
              </a:p>
            </p:txBody>
          </p:sp>
        </mc:Choice>
        <mc:Fallback xmlns="">
          <p:sp>
            <p:nvSpPr>
              <p:cNvPr id="33" name="Rectangle: Rounded Corners 32">
                <a:extLst>
                  <a:ext uri="{FF2B5EF4-FFF2-40B4-BE49-F238E27FC236}">
                    <a16:creationId xmlns:a16="http://schemas.microsoft.com/office/drawing/2014/main" id="{FF9E06DC-AD74-0FE9-D698-862B86502F1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39990" y="1192654"/>
                <a:ext cx="2197871" cy="488629"/>
              </a:xfrm>
              <a:prstGeom prst="roundRect">
                <a:avLst/>
              </a:prstGeom>
              <a:blipFill>
                <a:blip r:embed="rId8"/>
                <a:stretch>
                  <a:fillRect b="-2381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" name="TextBox 33">
            <a:extLst>
              <a:ext uri="{FF2B5EF4-FFF2-40B4-BE49-F238E27FC236}">
                <a16:creationId xmlns:a16="http://schemas.microsoft.com/office/drawing/2014/main" id="{120DAD08-E9DB-C647-C648-1CA307CDB8D7}"/>
              </a:ext>
            </a:extLst>
          </p:cNvPr>
          <p:cNvSpPr txBox="1"/>
          <p:nvPr/>
        </p:nvSpPr>
        <p:spPr>
          <a:xfrm>
            <a:off x="6464895" y="1941846"/>
            <a:ext cx="2130977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No of Rakes outside limit -8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7C8180E-C67C-F37F-3E08-A1A2D09360C2}"/>
              </a:ext>
            </a:extLst>
          </p:cNvPr>
          <p:cNvSpPr txBox="1"/>
          <p:nvPr/>
        </p:nvSpPr>
        <p:spPr>
          <a:xfrm>
            <a:off x="6464895" y="3286097"/>
            <a:ext cx="2130977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No of Rakes outside limit -7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70B2DE5-7B04-5B68-3463-D78F99B86149}"/>
              </a:ext>
            </a:extLst>
          </p:cNvPr>
          <p:cNvSpPr txBox="1"/>
          <p:nvPr/>
        </p:nvSpPr>
        <p:spPr>
          <a:xfrm>
            <a:off x="6464895" y="4586904"/>
            <a:ext cx="2130977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No of Rakes outside limit -49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A6A523C-7A10-0BCD-9B0B-9E307B395B47}"/>
              </a:ext>
            </a:extLst>
          </p:cNvPr>
          <p:cNvSpPr txBox="1"/>
          <p:nvPr/>
        </p:nvSpPr>
        <p:spPr>
          <a:xfrm>
            <a:off x="9239990" y="1941846"/>
            <a:ext cx="2130977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No of Rakes outside limit -5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42019C8-AD25-A834-801B-B08832E3E973}"/>
              </a:ext>
            </a:extLst>
          </p:cNvPr>
          <p:cNvSpPr txBox="1"/>
          <p:nvPr/>
        </p:nvSpPr>
        <p:spPr>
          <a:xfrm>
            <a:off x="9243930" y="3268323"/>
            <a:ext cx="2130977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No of Rakes outside limit -3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08E3172-4CC4-2B98-F9BC-4229BBD76B10}"/>
              </a:ext>
            </a:extLst>
          </p:cNvPr>
          <p:cNvSpPr txBox="1"/>
          <p:nvPr/>
        </p:nvSpPr>
        <p:spPr>
          <a:xfrm>
            <a:off x="9239990" y="4586903"/>
            <a:ext cx="2130977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No of Rakes outside limit -28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93437F5-4662-D13C-CC2D-C1D59DF1D145}"/>
              </a:ext>
            </a:extLst>
          </p:cNvPr>
          <p:cNvSpPr txBox="1"/>
          <p:nvPr/>
        </p:nvSpPr>
        <p:spPr>
          <a:xfrm>
            <a:off x="6464895" y="2277075"/>
            <a:ext cx="2130977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% Rakes outside limit -45%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235F280-F663-41C2-5256-4669DDF06277}"/>
              </a:ext>
            </a:extLst>
          </p:cNvPr>
          <p:cNvSpPr txBox="1"/>
          <p:nvPr/>
        </p:nvSpPr>
        <p:spPr>
          <a:xfrm>
            <a:off x="6464895" y="3660845"/>
            <a:ext cx="2130977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% Rakes outside limit -25%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9218493-1E8C-A105-6C2D-008EE5E9532E}"/>
              </a:ext>
            </a:extLst>
          </p:cNvPr>
          <p:cNvSpPr txBox="1"/>
          <p:nvPr/>
        </p:nvSpPr>
        <p:spPr>
          <a:xfrm>
            <a:off x="6464895" y="4930206"/>
            <a:ext cx="2130977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% Rakes outside limit -86%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7B17170-48A0-91C1-9897-2AAF0C8FED16}"/>
              </a:ext>
            </a:extLst>
          </p:cNvPr>
          <p:cNvSpPr txBox="1"/>
          <p:nvPr/>
        </p:nvSpPr>
        <p:spPr>
          <a:xfrm>
            <a:off x="9239990" y="2299672"/>
            <a:ext cx="2130977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% Rakes outside limit -28%</a:t>
            </a:r>
            <a:endParaRPr lang="en-IN" sz="12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B876E2D-F972-F769-136B-8E2BD016D15F}"/>
              </a:ext>
            </a:extLst>
          </p:cNvPr>
          <p:cNvSpPr txBox="1"/>
          <p:nvPr/>
        </p:nvSpPr>
        <p:spPr>
          <a:xfrm>
            <a:off x="9242280" y="3638781"/>
            <a:ext cx="2130977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% Rakes outside limit -11%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C2A4AEE-F16A-A2FC-E613-FC1D270C44D1}"/>
              </a:ext>
            </a:extLst>
          </p:cNvPr>
          <p:cNvSpPr txBox="1"/>
          <p:nvPr/>
        </p:nvSpPr>
        <p:spPr>
          <a:xfrm>
            <a:off x="9228643" y="4941533"/>
            <a:ext cx="2130977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% Rakes outside limit -49%</a:t>
            </a:r>
          </a:p>
        </p:txBody>
      </p:sp>
      <p:sp>
        <p:nvSpPr>
          <p:cNvPr id="52" name="Arrow: Down 51">
            <a:extLst>
              <a:ext uri="{FF2B5EF4-FFF2-40B4-BE49-F238E27FC236}">
                <a16:creationId xmlns:a16="http://schemas.microsoft.com/office/drawing/2014/main" id="{D8181AA1-4B2D-F658-999A-7D9C0A6337FA}"/>
              </a:ext>
            </a:extLst>
          </p:cNvPr>
          <p:cNvSpPr/>
          <p:nvPr/>
        </p:nvSpPr>
        <p:spPr>
          <a:xfrm>
            <a:off x="11481086" y="2138575"/>
            <a:ext cx="139596" cy="276999"/>
          </a:xfrm>
          <a:prstGeom prst="downArrow">
            <a:avLst/>
          </a:prstGeom>
          <a:ln>
            <a:solidFill>
              <a:srgbClr val="92D05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3" name="Arrow: Down 52">
            <a:extLst>
              <a:ext uri="{FF2B5EF4-FFF2-40B4-BE49-F238E27FC236}">
                <a16:creationId xmlns:a16="http://schemas.microsoft.com/office/drawing/2014/main" id="{BD4B20CF-E3E3-B6AE-9654-7A1692A03A34}"/>
              </a:ext>
            </a:extLst>
          </p:cNvPr>
          <p:cNvSpPr/>
          <p:nvPr/>
        </p:nvSpPr>
        <p:spPr>
          <a:xfrm>
            <a:off x="11481086" y="3466098"/>
            <a:ext cx="139596" cy="276999"/>
          </a:xfrm>
          <a:prstGeom prst="downArrow">
            <a:avLst/>
          </a:prstGeom>
          <a:ln>
            <a:solidFill>
              <a:srgbClr val="92D05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4" name="Arrow: Down 53">
            <a:extLst>
              <a:ext uri="{FF2B5EF4-FFF2-40B4-BE49-F238E27FC236}">
                <a16:creationId xmlns:a16="http://schemas.microsoft.com/office/drawing/2014/main" id="{DD7CD5BD-C228-F452-DFF9-26055AA83DC4}"/>
              </a:ext>
            </a:extLst>
          </p:cNvPr>
          <p:cNvSpPr/>
          <p:nvPr/>
        </p:nvSpPr>
        <p:spPr>
          <a:xfrm>
            <a:off x="11481086" y="4725402"/>
            <a:ext cx="139596" cy="276999"/>
          </a:xfrm>
          <a:prstGeom prst="downArrow">
            <a:avLst/>
          </a:prstGeom>
          <a:ln>
            <a:solidFill>
              <a:srgbClr val="92D05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5" name="Right Brace 54">
            <a:extLst>
              <a:ext uri="{FF2B5EF4-FFF2-40B4-BE49-F238E27FC236}">
                <a16:creationId xmlns:a16="http://schemas.microsoft.com/office/drawing/2014/main" id="{C45384B3-26BE-0720-6CFE-4815B9BCBB09}"/>
              </a:ext>
            </a:extLst>
          </p:cNvPr>
          <p:cNvSpPr/>
          <p:nvPr/>
        </p:nvSpPr>
        <p:spPr>
          <a:xfrm>
            <a:off x="8782189" y="1176774"/>
            <a:ext cx="324988" cy="4183098"/>
          </a:xfrm>
          <a:prstGeom prst="rightBrace">
            <a:avLst/>
          </a:prstGeom>
          <a:ln w="15875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b="1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A8AB93E-E16A-42B4-434B-FF27E642D774}"/>
              </a:ext>
            </a:extLst>
          </p:cNvPr>
          <p:cNvSpPr txBox="1"/>
          <p:nvPr/>
        </p:nvSpPr>
        <p:spPr>
          <a:xfrm>
            <a:off x="213163" y="4213503"/>
            <a:ext cx="1089684" cy="83099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200">
                <a:latin typeface="Arial" panose="020B0604020202020204" pitchFamily="34" charset="0"/>
                <a:cs typeface="Arial" panose="020B0604020202020204" pitchFamily="34" charset="0"/>
              </a:rPr>
              <a:t>Total No of Rakes-103 for Jellinbah PCI in FY24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BC72388-3091-4B01-4035-0B3AD947E327}"/>
              </a:ext>
            </a:extLst>
          </p:cNvPr>
          <p:cNvSpPr txBox="1"/>
          <p:nvPr/>
        </p:nvSpPr>
        <p:spPr>
          <a:xfrm>
            <a:off x="223520" y="5688098"/>
            <a:ext cx="11724640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sz="1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Comparison study of single coal grade reported ash% - LP reported value vs at plant sit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103 Rakes of Jellinbah PCI were received from March’23 to April’24( IRQA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No of deviation with existing tolerance set point &amp; proposed set point were compared to quantify the impact on deviation 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>
                <a:latin typeface="Arial" panose="020B0604020202020204" pitchFamily="34" charset="0"/>
                <a:cs typeface="Arial" panose="020B0604020202020204" pitchFamily="34" charset="0"/>
              </a:rPr>
              <a:t>For Jellibah PCI (Sample case) ~50% deviation in the system is due to type I error. </a:t>
            </a:r>
          </a:p>
        </p:txBody>
      </p:sp>
      <p:sp>
        <p:nvSpPr>
          <p:cNvPr id="62" name="Left Brace 61">
            <a:extLst>
              <a:ext uri="{FF2B5EF4-FFF2-40B4-BE49-F238E27FC236}">
                <a16:creationId xmlns:a16="http://schemas.microsoft.com/office/drawing/2014/main" id="{61249D5F-BB35-6030-191D-3D16D3784BF2}"/>
              </a:ext>
            </a:extLst>
          </p:cNvPr>
          <p:cNvSpPr/>
          <p:nvPr/>
        </p:nvSpPr>
        <p:spPr>
          <a:xfrm rot="16200000">
            <a:off x="2084713" y="4614828"/>
            <a:ext cx="229013" cy="1117600"/>
          </a:xfrm>
          <a:prstGeom prst="lef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3" name="Left Brace 62">
            <a:extLst>
              <a:ext uri="{FF2B5EF4-FFF2-40B4-BE49-F238E27FC236}">
                <a16:creationId xmlns:a16="http://schemas.microsoft.com/office/drawing/2014/main" id="{462ADEBB-1522-5900-107E-10C2E14AC9B7}"/>
              </a:ext>
            </a:extLst>
          </p:cNvPr>
          <p:cNvSpPr/>
          <p:nvPr/>
        </p:nvSpPr>
        <p:spPr>
          <a:xfrm rot="5400000">
            <a:off x="4424207" y="1249495"/>
            <a:ext cx="229013" cy="1117600"/>
          </a:xfrm>
          <a:prstGeom prst="lef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200AF15-118F-94CB-D93E-1593CE9D1550}"/>
              </a:ext>
            </a:extLst>
          </p:cNvPr>
          <p:cNvSpPr txBox="1"/>
          <p:nvPr/>
        </p:nvSpPr>
        <p:spPr>
          <a:xfrm>
            <a:off x="1644204" y="5297422"/>
            <a:ext cx="13529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>
                <a:latin typeface="Arial" panose="020B0604020202020204" pitchFamily="34" charset="0"/>
                <a:cs typeface="Arial" panose="020B0604020202020204" pitchFamily="34" charset="0"/>
              </a:rPr>
              <a:t>LP reported ash%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DC219964-800F-1218-6414-3A4C7F62B695}"/>
              </a:ext>
            </a:extLst>
          </p:cNvPr>
          <p:cNvSpPr txBox="1"/>
          <p:nvPr/>
        </p:nvSpPr>
        <p:spPr>
          <a:xfrm>
            <a:off x="3704277" y="1393208"/>
            <a:ext cx="17322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>
                <a:latin typeface="Arial" panose="020B0604020202020204" pitchFamily="34" charset="0"/>
                <a:cs typeface="Arial" panose="020B0604020202020204" pitchFamily="34" charset="0"/>
              </a:rPr>
              <a:t>Plant sites reported ash%</a:t>
            </a:r>
          </a:p>
        </p:txBody>
      </p:sp>
      <p:sp>
        <p:nvSpPr>
          <p:cNvPr id="68" name="Action Button: Go Forward or Next 67">
            <a:hlinkClick r:id="rId9" action="ppaction://hlinksldjump" highlightClick="1"/>
            <a:extLst>
              <a:ext uri="{FF2B5EF4-FFF2-40B4-BE49-F238E27FC236}">
                <a16:creationId xmlns:a16="http://schemas.microsoft.com/office/drawing/2014/main" id="{23E6472A-5FAF-65BD-5554-35BFB2A9C8B5}"/>
              </a:ext>
            </a:extLst>
          </p:cNvPr>
          <p:cNvSpPr/>
          <p:nvPr/>
        </p:nvSpPr>
        <p:spPr>
          <a:xfrm>
            <a:off x="11712428" y="2138575"/>
            <a:ext cx="233184" cy="196729"/>
          </a:xfrm>
          <a:prstGeom prst="actionButtonForwardNex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1" name="Title 1">
            <a:extLst>
              <a:ext uri="{FF2B5EF4-FFF2-40B4-BE49-F238E27FC236}">
                <a16:creationId xmlns:a16="http://schemas.microsoft.com/office/drawing/2014/main" id="{98B23226-876B-7136-7204-2C4825955CCD}"/>
              </a:ext>
            </a:extLst>
          </p:cNvPr>
          <p:cNvSpPr txBox="1">
            <a:spLocks/>
          </p:cNvSpPr>
          <p:nvPr/>
        </p:nvSpPr>
        <p:spPr>
          <a:xfrm>
            <a:off x="128611" y="1227653"/>
            <a:ext cx="2560122" cy="199037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 defTabSz="259954" rtl="0" eaLnBrk="1" latinLnBrk="0" hangingPunct="1">
              <a:spcBef>
                <a:spcPct val="0"/>
              </a:spcBef>
              <a:buNone/>
              <a:defRPr sz="124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1000" b="1">
                <a:latin typeface="Arial" panose="020B0604020202020204" pitchFamily="34" charset="0"/>
                <a:cs typeface="Arial" panose="020B0604020202020204" pitchFamily="34" charset="0"/>
              </a:rPr>
              <a:t>Type of errors – Type I &amp; Type II errors</a:t>
            </a:r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id="{1935F876-44F4-E302-22EB-1059A809AC1D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20090" r="120"/>
          <a:stretch/>
        </p:blipFill>
        <p:spPr>
          <a:xfrm>
            <a:off x="128611" y="1465902"/>
            <a:ext cx="3601222" cy="1862771"/>
          </a:xfrm>
          <a:prstGeom prst="rect">
            <a:avLst/>
          </a:prstGeom>
        </p:spPr>
      </p:pic>
      <p:sp>
        <p:nvSpPr>
          <p:cNvPr id="104" name="Action Button: Go Forward or Next 103">
            <a:hlinkClick r:id="rId11" action="ppaction://hlinksldjump" highlightClick="1"/>
            <a:extLst>
              <a:ext uri="{FF2B5EF4-FFF2-40B4-BE49-F238E27FC236}">
                <a16:creationId xmlns:a16="http://schemas.microsoft.com/office/drawing/2014/main" id="{7F5BCBB3-2413-E245-9623-2A95760B9A49}"/>
              </a:ext>
            </a:extLst>
          </p:cNvPr>
          <p:cNvSpPr/>
          <p:nvPr/>
        </p:nvSpPr>
        <p:spPr>
          <a:xfrm>
            <a:off x="11712428" y="3434875"/>
            <a:ext cx="233184" cy="196729"/>
          </a:xfrm>
          <a:prstGeom prst="actionButtonForwardNex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5" name="Action Button: Go Forward or Next 104">
            <a:hlinkClick r:id="rId12" action="ppaction://hlinksldjump" highlightClick="1"/>
            <a:extLst>
              <a:ext uri="{FF2B5EF4-FFF2-40B4-BE49-F238E27FC236}">
                <a16:creationId xmlns:a16="http://schemas.microsoft.com/office/drawing/2014/main" id="{95920AB7-6966-C95B-D74F-9C47763BBA0E}"/>
              </a:ext>
            </a:extLst>
          </p:cNvPr>
          <p:cNvSpPr/>
          <p:nvPr/>
        </p:nvSpPr>
        <p:spPr>
          <a:xfrm>
            <a:off x="11700859" y="4769959"/>
            <a:ext cx="233184" cy="196729"/>
          </a:xfrm>
          <a:prstGeom prst="actionButtonForwardNex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033159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110&quot;/&gt;&lt;CPresentation id=&quot;1&quot;&gt;&lt;m_precDefaultNumber&gt;&lt;m_bNumberIsYear val=&quot;1&quot;/&gt;&lt;m_chMinusSymbol&gt;-&lt;/m_chMinusSymbol&gt;&lt;m_chDecimalSymbol17909&gt;.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2147483647&quot;/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4.09510000000000040643E+00&quot;&gt;&lt;m_msothmcolidx val=&quot;0&quot;/&gt;&lt;m_rgb r=&quot;FF&quot; g=&quot;C0&quot; b=&quot;0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5YwgHNRHODwlSzhK0CJ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Vw4wUh3Y6BeGzxbIPnD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3EZwtsB7iiTdVIkO7r0N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ES8gJiAFFKNfJonKlxT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CjP5mXVvDMtWPFVoEB4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K08W_0Dw5i6YSXYT2eM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A2DHWdCvJ5ruoDuZMAs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33XS1nkUJ1ia1EeAx7.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UEOjrr3XPI4cSsXRB8m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YoruvABPzUW9JN9zWih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oauvVN.XK8Veg9L3bTK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nmX.N2uh4mdKg2uMAtI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FJ_3nJtkoslBI7Sr4Q3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K8vkHVOp0OxtGACLnxW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13sQEO6YZ5gB3.HkE1J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vlw.1ufckpmX1YjNM38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IC96vauC5UC3NGF34_r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ZJbYs6WuDwSohM5MOLX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rXHiayYTjqR2OLLkWZG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f4Vi96hF90IWFelS3Dx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JO745sEGHxp3_bCtffh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ItH95_ruj.M3jWPEZwn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rXb5KUHCBKuVrkHs6XX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9xJZGfTVp6V0xOYct.8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qXRB76ejPTCzsOtdSU1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nDI8oes.v5xzxtxQkyV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L.SnORoAGPCELohm9DP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cDZsqLpXAFsNWPaKElC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ndqKcvDcoGdBQ3aIUk3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TJu83jDBrCdyhHU8w3Q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UX3qpNg2sb8NrvkVNtt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PS5blKWFI8TIOAK1r9.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_zXVbZ3Is1v3mbPY9UW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lKcTEeRKOuEwSfjcKnP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YoVSsawqibk0P16AiDR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L02MbbZK3ruigvpRreY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xL7BWj4MlVWAQJeu4ef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0Cd7xJDbRBkconIM8s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yOTo7JqjmJrzFpSwitJ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1Xi.hQjUcJuAMtJnEJp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Jw2lIL9cIdDqzzanhQZ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EgnVdefxV056Ro9I6QM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dD7ItJJJVzA4nTZImOw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NNJx5YPai.5S1yZzmTF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nXzAPzgTrkb_zsLUqik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KkpiA1c0p2kr0ICp4nZ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kUsUuIAnHObvl2IHPxQ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5P3hs0ndf3um_HX5NRt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2NKvfKFn9zoNvIPu7kH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2bMqZsLsVlNzberCQHXo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kA3XH_TE4xqutTX9Vnv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CwePB2aWXpf7MZ39_w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B4ZiFod9ZdesZug4Hsq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Fm6SPpHOTvHRB4c8BIA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53GhA9NV0UWMm6Q25E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HFllEr_i4bHVvL0QMjN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tl0YUVycACsygAvYmLa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1HfIEllOr1p4vo3cEoz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qc8Cc_gyg3rQWUWcVnt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_nCPvyOYVNHnwKDARLw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DQdxb4yGgdqFxJkl0_x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9TJJbWgtBMwb6HDwLqn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I2gCKhUezE_zUPJul5N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nmX.N2uh4mdKg2uMAt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jZUPsEw_hhq.DddEijP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TJu83jDBrCdyhHU8w3Q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ccfMslzCN_tV56DvX22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cOkATUqSHcd7f4O.pYl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G.D.crzKN0HyTwo9Sdi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wNLUltals3yCoTuC_pc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Y4nNdbH8dOu2pavYa9n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TMRmDzkHw.o6RtY8ATi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Tgk7yTSzBxlPOgUCAyE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9p1Q3FWlMzMouznzkVP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DgswzEL8.vaM22EPiL_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.4ifXSPoZ9UiCRF5NLC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HY5WAsIt_bFwga5Dy7Z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Q2gbTwVMh0_6Rg5h..u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L2CdO6x1lahlHGl62_I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vRUi3lTQdqmHIhRfmhR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QM2OTUVxXstJXL9ZOJf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XS3TsnkIJm6hn3aqXDz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gONO2K4YmfyjSn0xHe7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fLPEO9sfXTnR_12ODPr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e27gRRoeImBTkBPhphU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BuVP4EG5.3zeqg2YGv_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gyKhE0Hxn3rU7X0a_TO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6noFMC1JWhki8.i_qV.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FogkLvrzdqvbXB0.2Pt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fvttNJfzHWadkOfZjeC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LO6VYMc806UfGnPaM2Y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rrum8bznH4ceRhxTC4B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v5O2afnOqLnlDsmnG.1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ohTHKKfog8E6.iVZhZ6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.7ix3nmCyCeTpJrYgnY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m7vxgoC7dMDPlG5mrEV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jgo35lDLPqqtjFcmY_J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rwajZbft48Xwhwbm58R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.30zwsLmxbcX.Qnh9zW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WJdQEZIaCQcJKOitjL0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QecOKFqhuoxF7yqpm19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xxg2A2cLoZiFGgiGmg9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GGAoSICOgMPCNSWJ.xo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16P.0oBfK1MsBHCodZ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AvR9FgwRJeMWC4y6smS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LY0EZ4zuf_q3emEJYoZ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1o0nuvfMumzjsZt6cft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xL7XOQOvNlsf.cFQujT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kcEb7eiGuom9KRi_a1u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WE7T7Plj9AOnkDTE31i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CVwTnXhdI3bKruTJI9M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nmX.N2uh4mdKg2uMAtI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TJu83jDBrCdyhHU8w3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Ie2th6vpUnXPLZA25Sc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KRLN8I4yA0tPfvyNrvH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y5boQ3gQrKuBQxre9g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17ShdsLv3tK1RADbVQS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wH3x5_0eIeNj8ew8i5k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6ikip0xUaGilrodqwp4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MKKvjjNtzai3M1RwUh9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CAVTTdn_TnhZo7TphbW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K11cSd7NhvrjBTFvNok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Fa69hJXuRUH4Fvt30g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hLy2.1Yu_TitzDufxYh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mykX4mKtra0N2asx8C7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cCldjNe7zTHfI53ihWw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RwFO19CRf.qIiZfKJ7g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oZeUGaTgz1CHk89huHf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v8dfwHkdC5qDlvlP2AV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qObkgaJfIAM5CARQo51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e1OSR.PGeKbXYI9FHnR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c8vAHoK8UyWukUI.bsN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lX1P.QgORY8IXHHNnUl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VwoWI8BuNFQ6ILkY7BU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Ux4ot4f1ZYzTQwsFmGO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wFRkbSlF7RscIOz07in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T5Qh6CfOc83qwfMyqzi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qyTF5k6Yu9pzWDWQiFi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7A6EORvUo7QdQhL3AUd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6Dcn.xRQUqTF6ecLJBN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KzYhI3t7lareX.8T41Y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ufOi9Ho.P_8dC68pGH6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v_n9pjIldZwN4GDgOXZ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wmAF2vna2eY4NoTuK4k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zGKcRSQ1LbhPaEnGdCJ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gqt_j813ImqzKeOpH9h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dS84ctKLo3kS22zs0Tp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VRT0krB7ddOBTTFmLO_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36P902IaH7rAL2aTTy4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X0Uto_D1ko8q.2Pwbnu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yKssWSNZ4zLNO3I_F3T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uDP4qB1yrnmP8oKcvKU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ftM82l5g5l9QpJDL4.9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Ab1yDeUVJFlXZ8B8tPA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ySei97xg7vrpj7Opyuc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JP7NYKOv.GQsyuslYFz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Un1_d8TtEOliaV8xHLu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_yXc2upf1Ms8z1e_dKB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W5BcvlwgYS7DldWhZfE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BYbf6wmKW6T5CWCjwrY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bL0oV_5aQEjfZPcp4dk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_n25l0lfR5_kDtV_a3L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LZjpK4NkG2V_ILFXmJP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e_fIwS0BfRN67LqEkbe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6c9PhS4BbMPcNFdLnu2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G.hOzSRoB.ODUId8OT3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DyRwZ5TtiUf47UxrGAZ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qYZtKofXNZGldzLuTL_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lvx01Okc4KFmhSaupZH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fpmc6pAWaW9irYg38d2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ekAEAKUQwfQh2TzfdUb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l39GF88wwe8pz3F3wZs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BNjKP5yftxyGm2YxUkT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SQiDVDKnzVNeysTPynk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AJDm54FKciZkpTj_is2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.Lo4d.gF_w4CujzVpFH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xbeaUg1OwAm.I5JCu0N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xfr64VRCJl1YKy8T3MY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JdBMJ6Pc8p4SStBNnGT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.f4Ch_g218ADn7Ap1bx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Wv7wV1wvcbuPKW3WBmo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EalAOaKl8cKBbFMiZue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CjQ0RVpSglaSe1WptTS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TDpKVXRnHfDTnrIfmCt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lWzxa4QQQKV3gc_TuB1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JC59aIY9HyHuMli_tOl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heme/theme1.xml><?xml version="1.0" encoding="utf-8"?>
<a:theme xmlns:a="http://schemas.openxmlformats.org/drawingml/2006/main" name="tsl board">
  <a:themeElements>
    <a:clrScheme name="Tata Steel">
      <a:dk1>
        <a:srgbClr val="000000"/>
      </a:dk1>
      <a:lt1>
        <a:srgbClr val="FFFFFF"/>
      </a:lt1>
      <a:dk2>
        <a:srgbClr val="3D7EDB"/>
      </a:dk2>
      <a:lt2>
        <a:srgbClr val="999999"/>
      </a:lt2>
      <a:accent1>
        <a:srgbClr val="5A245A"/>
      </a:accent1>
      <a:accent2>
        <a:srgbClr val="ED2939"/>
      </a:accent2>
      <a:accent3>
        <a:srgbClr val="FFA100"/>
      </a:accent3>
      <a:accent4>
        <a:srgbClr val="34B233"/>
      </a:accent4>
      <a:accent5>
        <a:srgbClr val="0083A9"/>
      </a:accent5>
      <a:accent6>
        <a:srgbClr val="002B45"/>
      </a:accent6>
      <a:hlink>
        <a:srgbClr val="000000"/>
      </a:hlink>
      <a:folHlink>
        <a:srgbClr val="000000"/>
      </a:folHlink>
    </a:clrScheme>
    <a:fontScheme name="Tata Steel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Tata Steel theme 1">
        <a:dk1>
          <a:srgbClr val="000000"/>
        </a:dk1>
        <a:lt1>
          <a:srgbClr val="FFFFFF"/>
        </a:lt1>
        <a:dk2>
          <a:srgbClr val="3D7EDB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34B233"/>
        </a:hlink>
        <a:folHlink>
          <a:srgbClr val="ED29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_PP-2007-2010-slidepool-light">
  <a:themeElements>
    <a:clrScheme name="Tata Steel">
      <a:dk1>
        <a:srgbClr val="000000"/>
      </a:dk1>
      <a:lt1>
        <a:srgbClr val="FFFFFF"/>
      </a:lt1>
      <a:dk2>
        <a:srgbClr val="3D7EDB"/>
      </a:dk2>
      <a:lt2>
        <a:srgbClr val="999999"/>
      </a:lt2>
      <a:accent1>
        <a:srgbClr val="5A245A"/>
      </a:accent1>
      <a:accent2>
        <a:srgbClr val="ED2939"/>
      </a:accent2>
      <a:accent3>
        <a:srgbClr val="FFA100"/>
      </a:accent3>
      <a:accent4>
        <a:srgbClr val="34B233"/>
      </a:accent4>
      <a:accent5>
        <a:srgbClr val="0083A9"/>
      </a:accent5>
      <a:accent6>
        <a:srgbClr val="002B45"/>
      </a:accent6>
      <a:hlink>
        <a:srgbClr val="000000"/>
      </a:hlink>
      <a:folHlink>
        <a:srgbClr val="000000"/>
      </a:folHlink>
    </a:clrScheme>
    <a:fontScheme name="Tata Steel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Tata Steel theme 1">
        <a:dk1>
          <a:srgbClr val="000000"/>
        </a:dk1>
        <a:lt1>
          <a:srgbClr val="FFFFFF"/>
        </a:lt1>
        <a:dk2>
          <a:srgbClr val="3D7EDB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34B233"/>
        </a:hlink>
        <a:folHlink>
          <a:srgbClr val="ED29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NewsPrint">
      <a:majorFont>
        <a:latin typeface="Impact"/>
        <a:ea typeface=""/>
        <a:cs typeface=""/>
        <a:font script="Jpan" typeface="HGP創英角ｺﾞｼｯｸUB"/>
        <a:font script="Hang" typeface="HY견고딕"/>
        <a:font script="Hans" typeface="微软雅黑"/>
        <a:font script="Hant" typeface="微軟正黑體"/>
        <a:font script="Arab" typeface="Tahoma"/>
        <a:font script="Hebr" typeface="To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2_PP-2007-2010-slidepool-light">
  <a:themeElements>
    <a:clrScheme name="Tata Steel">
      <a:dk1>
        <a:srgbClr val="000000"/>
      </a:dk1>
      <a:lt1>
        <a:srgbClr val="FFFFFF"/>
      </a:lt1>
      <a:dk2>
        <a:srgbClr val="3D7EDB"/>
      </a:dk2>
      <a:lt2>
        <a:srgbClr val="999999"/>
      </a:lt2>
      <a:accent1>
        <a:srgbClr val="5A245A"/>
      </a:accent1>
      <a:accent2>
        <a:srgbClr val="ED2939"/>
      </a:accent2>
      <a:accent3>
        <a:srgbClr val="FFA100"/>
      </a:accent3>
      <a:accent4>
        <a:srgbClr val="34B233"/>
      </a:accent4>
      <a:accent5>
        <a:srgbClr val="0083A9"/>
      </a:accent5>
      <a:accent6>
        <a:srgbClr val="002B45"/>
      </a:accent6>
      <a:hlink>
        <a:srgbClr val="000000"/>
      </a:hlink>
      <a:folHlink>
        <a:srgbClr val="000000"/>
      </a:folHlink>
    </a:clrScheme>
    <a:fontScheme name="Tata Steel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Tata Steel theme 1">
        <a:dk1>
          <a:srgbClr val="000000"/>
        </a:dk1>
        <a:lt1>
          <a:srgbClr val="FFFFFF"/>
        </a:lt1>
        <a:dk2>
          <a:srgbClr val="3D7EDB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34B233"/>
        </a:hlink>
        <a:folHlink>
          <a:srgbClr val="ED29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3_PP-2007-2010-slidepool-light">
  <a:themeElements>
    <a:clrScheme name="Tata Steel">
      <a:dk1>
        <a:srgbClr val="000000"/>
      </a:dk1>
      <a:lt1>
        <a:srgbClr val="FFFFFF"/>
      </a:lt1>
      <a:dk2>
        <a:srgbClr val="3D7EDB"/>
      </a:dk2>
      <a:lt2>
        <a:srgbClr val="999999"/>
      </a:lt2>
      <a:accent1>
        <a:srgbClr val="5A245A"/>
      </a:accent1>
      <a:accent2>
        <a:srgbClr val="ED2939"/>
      </a:accent2>
      <a:accent3>
        <a:srgbClr val="FFA100"/>
      </a:accent3>
      <a:accent4>
        <a:srgbClr val="34B233"/>
      </a:accent4>
      <a:accent5>
        <a:srgbClr val="0083A9"/>
      </a:accent5>
      <a:accent6>
        <a:srgbClr val="002B45"/>
      </a:accent6>
      <a:hlink>
        <a:srgbClr val="000000"/>
      </a:hlink>
      <a:folHlink>
        <a:srgbClr val="000000"/>
      </a:folHlink>
    </a:clrScheme>
    <a:fontScheme name="Tata Steel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Tata Steel theme 1">
        <a:dk1>
          <a:srgbClr val="000000"/>
        </a:dk1>
        <a:lt1>
          <a:srgbClr val="FFFFFF"/>
        </a:lt1>
        <a:dk2>
          <a:srgbClr val="3D7EDB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34B233"/>
        </a:hlink>
        <a:folHlink>
          <a:srgbClr val="ED29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SRB Theme 2">
  <a:themeElements>
    <a:clrScheme name="TSMG_Blue">
      <a:dk1>
        <a:srgbClr val="000000"/>
      </a:dk1>
      <a:lt1>
        <a:srgbClr val="FFFFFF"/>
      </a:lt1>
      <a:dk2>
        <a:srgbClr val="0F243E"/>
      </a:dk2>
      <a:lt2>
        <a:srgbClr val="FFFFFF"/>
      </a:lt2>
      <a:accent1>
        <a:srgbClr val="0F243E"/>
      </a:accent1>
      <a:accent2>
        <a:srgbClr val="256885"/>
      </a:accent2>
      <a:accent3>
        <a:srgbClr val="BDDEED"/>
      </a:accent3>
      <a:accent4>
        <a:srgbClr val="193B61"/>
      </a:accent4>
      <a:accent5>
        <a:srgbClr val="5FAFD3"/>
      </a:accent5>
      <a:accent6>
        <a:srgbClr val="000000"/>
      </a:accent6>
      <a:hlink>
        <a:srgbClr val="0070C0"/>
      </a:hlink>
      <a:folHlink>
        <a:srgbClr val="800080"/>
      </a:folHlink>
    </a:clrScheme>
    <a:fontScheme name="Custom 1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RB Theme 2" id="{FC1067A5-D183-45AF-9054-6CD7BFB2A2F1}" vid="{91C38D82-B1D5-4E62-A98C-68F05172F57B}"/>
    </a:ext>
  </a:extLst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3.xml><?xml version="1.0" encoding="utf-8"?>
<a:theme xmlns:a="http://schemas.openxmlformats.org/drawingml/2006/main" name="3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4.xml><?xml version="1.0" encoding="utf-8"?>
<a:theme xmlns:a="http://schemas.openxmlformats.org/drawingml/2006/main" name="4_TSK Ph#2_27072016_Preparation for MD Review">
  <a:themeElements>
    <a:clrScheme name="Tata Steel theme 1">
      <a:dk1>
        <a:srgbClr val="000000"/>
      </a:dk1>
      <a:lt1>
        <a:srgbClr val="FFFFFF"/>
      </a:lt1>
      <a:dk2>
        <a:srgbClr val="3D7EDB"/>
      </a:dk2>
      <a:lt2>
        <a:srgbClr val="999999"/>
      </a:lt2>
      <a:accent1>
        <a:srgbClr val="002B45"/>
      </a:accent1>
      <a:accent2>
        <a:srgbClr val="0083A9"/>
      </a:accent2>
      <a:accent3>
        <a:srgbClr val="FFFFFF"/>
      </a:accent3>
      <a:accent4>
        <a:srgbClr val="000000"/>
      </a:accent4>
      <a:accent5>
        <a:srgbClr val="AAACB0"/>
      </a:accent5>
      <a:accent6>
        <a:srgbClr val="007699"/>
      </a:accent6>
      <a:hlink>
        <a:srgbClr val="34B233"/>
      </a:hlink>
      <a:folHlink>
        <a:srgbClr val="ED2939"/>
      </a:folHlink>
    </a:clrScheme>
    <a:fontScheme name="Tata Steel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Tata Steel theme 1">
        <a:dk1>
          <a:srgbClr val="000000"/>
        </a:dk1>
        <a:lt1>
          <a:srgbClr val="FFFFFF"/>
        </a:lt1>
        <a:dk2>
          <a:srgbClr val="3D7EDB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34B233"/>
        </a:hlink>
        <a:folHlink>
          <a:srgbClr val="ED29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6.xml><?xml version="1.0" encoding="utf-8"?>
<a:theme xmlns:a="http://schemas.openxmlformats.org/drawingml/2006/main" name="1_tsl board">
  <a:themeElements>
    <a:clrScheme name="Tata Steel">
      <a:dk1>
        <a:srgbClr val="000000"/>
      </a:dk1>
      <a:lt1>
        <a:srgbClr val="FFFFFF"/>
      </a:lt1>
      <a:dk2>
        <a:srgbClr val="3D7EDB"/>
      </a:dk2>
      <a:lt2>
        <a:srgbClr val="999999"/>
      </a:lt2>
      <a:accent1>
        <a:srgbClr val="5A245A"/>
      </a:accent1>
      <a:accent2>
        <a:srgbClr val="ED2939"/>
      </a:accent2>
      <a:accent3>
        <a:srgbClr val="FFA100"/>
      </a:accent3>
      <a:accent4>
        <a:srgbClr val="34B233"/>
      </a:accent4>
      <a:accent5>
        <a:srgbClr val="0083A9"/>
      </a:accent5>
      <a:accent6>
        <a:srgbClr val="002B45"/>
      </a:accent6>
      <a:hlink>
        <a:srgbClr val="000000"/>
      </a:hlink>
      <a:folHlink>
        <a:srgbClr val="000000"/>
      </a:folHlink>
    </a:clrScheme>
    <a:fontScheme name="Tata Steel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Tata Steel theme 1">
        <a:dk1>
          <a:srgbClr val="000000"/>
        </a:dk1>
        <a:lt1>
          <a:srgbClr val="FFFFFF"/>
        </a:lt1>
        <a:dk2>
          <a:srgbClr val="3D7EDB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34B233"/>
        </a:hlink>
        <a:folHlink>
          <a:srgbClr val="ED29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tsl board">
  <a:themeElements>
    <a:clrScheme name="Tata Steel">
      <a:dk1>
        <a:srgbClr val="000000"/>
      </a:dk1>
      <a:lt1>
        <a:srgbClr val="FFFFFF"/>
      </a:lt1>
      <a:dk2>
        <a:srgbClr val="3D7EDB"/>
      </a:dk2>
      <a:lt2>
        <a:srgbClr val="999999"/>
      </a:lt2>
      <a:accent1>
        <a:srgbClr val="5A245A"/>
      </a:accent1>
      <a:accent2>
        <a:srgbClr val="ED2939"/>
      </a:accent2>
      <a:accent3>
        <a:srgbClr val="FFA100"/>
      </a:accent3>
      <a:accent4>
        <a:srgbClr val="34B233"/>
      </a:accent4>
      <a:accent5>
        <a:srgbClr val="0083A9"/>
      </a:accent5>
      <a:accent6>
        <a:srgbClr val="002B45"/>
      </a:accent6>
      <a:hlink>
        <a:srgbClr val="000000"/>
      </a:hlink>
      <a:folHlink>
        <a:srgbClr val="000000"/>
      </a:folHlink>
    </a:clrScheme>
    <a:fontScheme name="Tata Steel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Tata Steel theme 1">
        <a:dk1>
          <a:srgbClr val="000000"/>
        </a:dk1>
        <a:lt1>
          <a:srgbClr val="FFFFFF"/>
        </a:lt1>
        <a:dk2>
          <a:srgbClr val="3D7EDB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34B233"/>
        </a:hlink>
        <a:folHlink>
          <a:srgbClr val="ED29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6_TSK Ph#2_27072016_Preparation for MD Review">
  <a:themeElements>
    <a:clrScheme name="Tata Steel theme 1">
      <a:dk1>
        <a:srgbClr val="000000"/>
      </a:dk1>
      <a:lt1>
        <a:srgbClr val="FFFFFF"/>
      </a:lt1>
      <a:dk2>
        <a:srgbClr val="3D7EDB"/>
      </a:dk2>
      <a:lt2>
        <a:srgbClr val="999999"/>
      </a:lt2>
      <a:accent1>
        <a:srgbClr val="002B45"/>
      </a:accent1>
      <a:accent2>
        <a:srgbClr val="0083A9"/>
      </a:accent2>
      <a:accent3>
        <a:srgbClr val="FFFFFF"/>
      </a:accent3>
      <a:accent4>
        <a:srgbClr val="000000"/>
      </a:accent4>
      <a:accent5>
        <a:srgbClr val="AAACB0"/>
      </a:accent5>
      <a:accent6>
        <a:srgbClr val="007699"/>
      </a:accent6>
      <a:hlink>
        <a:srgbClr val="34B233"/>
      </a:hlink>
      <a:folHlink>
        <a:srgbClr val="ED2939"/>
      </a:folHlink>
    </a:clrScheme>
    <a:fontScheme name="Tata Steel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Tata Steel theme 1">
        <a:dk1>
          <a:srgbClr val="000000"/>
        </a:dk1>
        <a:lt1>
          <a:srgbClr val="FFFFFF"/>
        </a:lt1>
        <a:dk2>
          <a:srgbClr val="3D7EDB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34B233"/>
        </a:hlink>
        <a:folHlink>
          <a:srgbClr val="ED29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3_TSL Board">
  <a:themeElements>
    <a:clrScheme name="Tata Steel">
      <a:dk1>
        <a:srgbClr val="000000"/>
      </a:dk1>
      <a:lt1>
        <a:srgbClr val="FFFFFF"/>
      </a:lt1>
      <a:dk2>
        <a:srgbClr val="3D7EDB"/>
      </a:dk2>
      <a:lt2>
        <a:srgbClr val="999999"/>
      </a:lt2>
      <a:accent1>
        <a:srgbClr val="5A245A"/>
      </a:accent1>
      <a:accent2>
        <a:srgbClr val="ED2939"/>
      </a:accent2>
      <a:accent3>
        <a:srgbClr val="FFA100"/>
      </a:accent3>
      <a:accent4>
        <a:srgbClr val="34B233"/>
      </a:accent4>
      <a:accent5>
        <a:srgbClr val="0083A9"/>
      </a:accent5>
      <a:accent6>
        <a:srgbClr val="002B45"/>
      </a:accent6>
      <a:hlink>
        <a:srgbClr val="000000"/>
      </a:hlink>
      <a:folHlink>
        <a:srgbClr val="000000"/>
      </a:folHlink>
    </a:clrScheme>
    <a:fontScheme name="Tata Steel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Tata Steel theme 1">
        <a:dk1>
          <a:srgbClr val="000000"/>
        </a:dk1>
        <a:lt1>
          <a:srgbClr val="FFFFFF"/>
        </a:lt1>
        <a:dk2>
          <a:srgbClr val="3D7EDB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34B233"/>
        </a:hlink>
        <a:folHlink>
          <a:srgbClr val="ED29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SL Board" id="{A53967E2-8FDD-4ABB-9AEE-846B90C61ED6}" vid="{AC1B1974-2EE5-4BC4-9CFC-CD90A97D319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0FBD063CE90DB488B9C337EF46010DD" ma:contentTypeVersion="5" ma:contentTypeDescription="Create a new document." ma:contentTypeScope="" ma:versionID="c0a92fae19c615bab918ad78292c6a22">
  <xsd:schema xmlns:xsd="http://www.w3.org/2001/XMLSchema" xmlns:xs="http://www.w3.org/2001/XMLSchema" xmlns:p="http://schemas.microsoft.com/office/2006/metadata/properties" xmlns:ns3="7ca0655c-6f09-4016-8cb1-58a96aa77deb" xmlns:ns4="40d5d107-196a-491f-9a75-704465f0c3f9" targetNamespace="http://schemas.microsoft.com/office/2006/metadata/properties" ma:root="true" ma:fieldsID="5393cb40318ca4524fd2f0efd60214d6" ns3:_="" ns4:_="">
    <xsd:import namespace="7ca0655c-6f09-4016-8cb1-58a96aa77deb"/>
    <xsd:import namespace="40d5d107-196a-491f-9a75-704465f0c3f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a0655c-6f09-4016-8cb1-58a96aa77de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d5d107-196a-491f-9a75-704465f0c3f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7D13EE2-1A26-4655-A632-91A89CA12FE1}">
  <ds:schemaRefs>
    <ds:schemaRef ds:uri="http://schemas.openxmlformats.org/package/2006/metadata/core-properties"/>
    <ds:schemaRef ds:uri="http://purl.org/dc/terms/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7ca0655c-6f09-4016-8cb1-58a96aa77deb"/>
    <ds:schemaRef ds:uri="40d5d107-196a-491f-9a75-704465f0c3f9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B9BA422-C845-460D-B4FA-103A7325A03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672962C-5AF9-4BA1-A5E4-1CB2456BE8F2}">
  <ds:schemaRefs>
    <ds:schemaRef ds:uri="40d5d107-196a-491f-9a75-704465f0c3f9"/>
    <ds:schemaRef ds:uri="7ca0655c-6f09-4016-8cb1-58a96aa77de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44</TotalTime>
  <Words>6832</Words>
  <Application>Microsoft Office PowerPoint</Application>
  <PresentationFormat>Widescreen</PresentationFormat>
  <Paragraphs>3407</Paragraphs>
  <Slides>3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5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35</vt:i4>
      </vt:variant>
    </vt:vector>
  </HeadingPairs>
  <TitlesOfParts>
    <vt:vector size="62" baseType="lpstr">
      <vt:lpstr>Arial</vt:lpstr>
      <vt:lpstr>Arial Narrow</vt:lpstr>
      <vt:lpstr>Calibri</vt:lpstr>
      <vt:lpstr>Calibri Light</vt:lpstr>
      <vt:lpstr>Cambria Math</vt:lpstr>
      <vt:lpstr>Impact</vt:lpstr>
      <vt:lpstr>Myriad Pro</vt:lpstr>
      <vt:lpstr>Times New Roman</vt:lpstr>
      <vt:lpstr>Wingdings</vt:lpstr>
      <vt:lpstr>tsl board</vt:lpstr>
      <vt:lpstr>2_Firm Format - template_Blue</vt:lpstr>
      <vt:lpstr>3_Firm Format - template_Blue</vt:lpstr>
      <vt:lpstr>4_TSK Ph#2_27072016_Preparation for MD Review</vt:lpstr>
      <vt:lpstr>4_Firm Format - template_Blue</vt:lpstr>
      <vt:lpstr>1_tsl board</vt:lpstr>
      <vt:lpstr>2_tsl board</vt:lpstr>
      <vt:lpstr>6_TSK Ph#2_27072016_Preparation for MD Review</vt:lpstr>
      <vt:lpstr>3_TSL Board</vt:lpstr>
      <vt:lpstr>1_PP-2007-2010-slidepool-light</vt:lpstr>
      <vt:lpstr>1_Office Theme</vt:lpstr>
      <vt:lpstr>Custom Design</vt:lpstr>
      <vt:lpstr>2_PP-2007-2010-slidepool-light</vt:lpstr>
      <vt:lpstr>3_PP-2007-2010-slidepool-light</vt:lpstr>
      <vt:lpstr>SRB Theme 2</vt:lpstr>
      <vt:lpstr>think-cell Slide</vt:lpstr>
      <vt:lpstr>Acrobat Document</vt:lpstr>
      <vt:lpstr>Graph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ATASTE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kur Gandotra</dc:creator>
  <cp:lastModifiedBy>Nitish Kumar</cp:lastModifiedBy>
  <cp:revision>9</cp:revision>
  <cp:lastPrinted>2018-06-06T10:36:04Z</cp:lastPrinted>
  <dcterms:created xsi:type="dcterms:W3CDTF">2015-07-06T09:49:02Z</dcterms:created>
  <dcterms:modified xsi:type="dcterms:W3CDTF">2024-05-30T11:48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0FBD063CE90DB488B9C337EF46010DD</vt:lpwstr>
  </property>
  <property fmtid="{D5CDD505-2E9C-101B-9397-08002B2CF9AE}" pid="3" name="MSIP_Label_2f50afb6-ab6e-4e8b-96b5-6e00ab52e29e_Enabled">
    <vt:lpwstr>true</vt:lpwstr>
  </property>
  <property fmtid="{D5CDD505-2E9C-101B-9397-08002B2CF9AE}" pid="4" name="MSIP_Label_2f50afb6-ab6e-4e8b-96b5-6e00ab52e29e_SetDate">
    <vt:lpwstr>2022-06-10T09:37:34Z</vt:lpwstr>
  </property>
  <property fmtid="{D5CDD505-2E9C-101B-9397-08002B2CF9AE}" pid="5" name="MSIP_Label_2f50afb6-ab6e-4e8b-96b5-6e00ab52e29e_Method">
    <vt:lpwstr>Standard</vt:lpwstr>
  </property>
  <property fmtid="{D5CDD505-2E9C-101B-9397-08002B2CF9AE}" pid="6" name="MSIP_Label_2f50afb6-ab6e-4e8b-96b5-6e00ab52e29e_Name">
    <vt:lpwstr>2f50afb6-ab6e-4e8b-96b5-6e00ab52e29e</vt:lpwstr>
  </property>
  <property fmtid="{D5CDD505-2E9C-101B-9397-08002B2CF9AE}" pid="7" name="MSIP_Label_2f50afb6-ab6e-4e8b-96b5-6e00ab52e29e_SiteId">
    <vt:lpwstr>f35425af-4755-4e0c-b1bb-b3cb9f1c6afd</vt:lpwstr>
  </property>
  <property fmtid="{D5CDD505-2E9C-101B-9397-08002B2CF9AE}" pid="8" name="MSIP_Label_2f50afb6-ab6e-4e8b-96b5-6e00ab52e29e_ActionId">
    <vt:lpwstr>70fecb06-87ed-4725-ba9e-f2f5657859f4</vt:lpwstr>
  </property>
  <property fmtid="{D5CDD505-2E9C-101B-9397-08002B2CF9AE}" pid="9" name="MSIP_Label_2f50afb6-ab6e-4e8b-96b5-6e00ab52e29e_ContentBits">
    <vt:lpwstr>0</vt:lpwstr>
  </property>
</Properties>
</file>